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customXml/itemProps2.xml" ContentType="application/vnd.openxmlformats-officedocument.customXmlProperties+xml"/>
  <Override PartName="/customXml/itemProps1.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43"/>
  </p:notesMasterIdLst>
  <p:sldIdLst>
    <p:sldId id="256" r:id="rId2"/>
    <p:sldId id="2652" r:id="rId3"/>
    <p:sldId id="2642" r:id="rId4"/>
    <p:sldId id="2810" r:id="rId5"/>
    <p:sldId id="2797" r:id="rId6"/>
    <p:sldId id="2798" r:id="rId7"/>
    <p:sldId id="2799" r:id="rId8"/>
    <p:sldId id="2802" r:id="rId9"/>
    <p:sldId id="2800" r:id="rId10"/>
    <p:sldId id="2803" r:id="rId11"/>
    <p:sldId id="2801" r:id="rId12"/>
    <p:sldId id="2809" r:id="rId13"/>
    <p:sldId id="2804" r:id="rId14"/>
    <p:sldId id="2805" r:id="rId15"/>
    <p:sldId id="2806" r:id="rId16"/>
    <p:sldId id="2807" r:id="rId17"/>
    <p:sldId id="2796" r:id="rId18"/>
    <p:sldId id="2808" r:id="rId19"/>
    <p:sldId id="2830" r:id="rId20"/>
    <p:sldId id="2811" r:id="rId21"/>
    <p:sldId id="2812" r:id="rId22"/>
    <p:sldId id="2813" r:id="rId23"/>
    <p:sldId id="2814" r:id="rId24"/>
    <p:sldId id="2815" r:id="rId25"/>
    <p:sldId id="2816" r:id="rId26"/>
    <p:sldId id="2817" r:id="rId27"/>
    <p:sldId id="2818" r:id="rId28"/>
    <p:sldId id="2819" r:id="rId29"/>
    <p:sldId id="2820" r:id="rId30"/>
    <p:sldId id="2821" r:id="rId31"/>
    <p:sldId id="2822" r:id="rId32"/>
    <p:sldId id="2823" r:id="rId33"/>
    <p:sldId id="2824" r:id="rId34"/>
    <p:sldId id="2825" r:id="rId35"/>
    <p:sldId id="378" r:id="rId36"/>
    <p:sldId id="379" r:id="rId37"/>
    <p:sldId id="380" r:id="rId38"/>
    <p:sldId id="2828" r:id="rId39"/>
    <p:sldId id="2826" r:id="rId40"/>
    <p:sldId id="2827" r:id="rId41"/>
    <p:sldId id="2829" r:id="rId42"/>
  </p:sldIdLst>
  <p:sldSz cx="9144000" cy="6858000" type="screen4x3"/>
  <p:notesSz cx="7315200" cy="9601200"/>
  <p:custDataLst>
    <p:tags r:id="rId4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36" userDrawn="1">
          <p15:clr>
            <a:srgbClr val="A4A3A4"/>
          </p15:clr>
        </p15:guide>
        <p15:guide id="2" pos="2916" userDrawn="1">
          <p15:clr>
            <a:srgbClr val="A4A3A4"/>
          </p15:clr>
        </p15:guide>
        <p15:guide id="3" orient="horz" pos="4320" userDrawn="1">
          <p15:clr>
            <a:srgbClr val="A4A3A4"/>
          </p15:clr>
        </p15:guide>
        <p15:guide id="4" orient="horz" userDrawn="1">
          <p15:clr>
            <a:srgbClr val="A4A3A4"/>
          </p15:clr>
        </p15:guide>
        <p15:guide id="6" pos="5760"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2F2F2"/>
    <a:srgbClr val="B0A986"/>
    <a:srgbClr val="EDE4B6"/>
    <a:srgbClr val="92D050"/>
    <a:srgbClr val="FF3300"/>
    <a:srgbClr val="70AD47"/>
    <a:srgbClr val="EBEEE6"/>
    <a:srgbClr val="A5A5A5"/>
    <a:srgbClr val="203864"/>
    <a:srgbClr val="ED7D3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ADE34FD-9F02-4CD9-B9DF-1F3A8AAE4844}" v="22" dt="2020-07-14T16:47:46.89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9195" autoAdjust="0"/>
    <p:restoredTop sz="91857" autoAdjust="0"/>
  </p:normalViewPr>
  <p:slideViewPr>
    <p:cSldViewPr snapToGrid="0">
      <p:cViewPr>
        <p:scale>
          <a:sx n="40" d="100"/>
          <a:sy n="40" d="100"/>
        </p:scale>
        <p:origin x="2284" y="508"/>
      </p:cViewPr>
      <p:guideLst>
        <p:guide orient="horz" pos="2136"/>
        <p:guide pos="2916"/>
        <p:guide orient="horz" pos="4320"/>
        <p:guide orient="horz"/>
        <p:guide pos="5760"/>
      </p:guideLst>
    </p:cSldViewPr>
  </p:slideViewPr>
  <p:outlineViewPr>
    <p:cViewPr>
      <p:scale>
        <a:sx n="33" d="100"/>
        <a:sy n="33" d="100"/>
      </p:scale>
      <p:origin x="0" y="-108192"/>
    </p:cViewPr>
  </p:outlineViewPr>
  <p:notesTextViewPr>
    <p:cViewPr>
      <p:scale>
        <a:sx n="125" d="100"/>
        <a:sy n="125" d="100"/>
      </p:scale>
      <p:origin x="0" y="0"/>
    </p:cViewPr>
  </p:notesTextViewPr>
  <p:sorterViewPr>
    <p:cViewPr>
      <p:scale>
        <a:sx n="50" d="100"/>
        <a:sy n="50" d="100"/>
      </p:scale>
      <p:origin x="0" y="-2184"/>
    </p:cViewPr>
  </p:sorterViewPr>
  <p:notesViewPr>
    <p:cSldViewPr snapToGrid="0">
      <p:cViewPr varScale="1">
        <p:scale>
          <a:sx n="150" d="100"/>
          <a:sy n="150" d="100"/>
        </p:scale>
        <p:origin x="5568" y="176"/>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theme" Target="theme/theme1.xml"/><Relationship Id="rId50" Type="http://schemas.microsoft.com/office/2015/10/relationships/revisionInfo" Target="revisionInfo.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presProps" Target="presProps.xml"/><Relationship Id="rId53" Type="http://schemas.openxmlformats.org/officeDocument/2006/relationships/customXml" Target="../customXml/item3.xml"/><Relationship Id="rId5" Type="http://schemas.openxmlformats.org/officeDocument/2006/relationships/slide" Target="slides/slide4.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tags" Target="tags/tag1.xml"/><Relationship Id="rId52" Type="http://schemas.openxmlformats.org/officeDocument/2006/relationships/customXml" Target="../customXml/item2.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notesMaster" Target="notesMasters/notesMaster1.xml"/><Relationship Id="rId48" Type="http://schemas.openxmlformats.org/officeDocument/2006/relationships/tableStyles" Target="tableStyles.xml"/><Relationship Id="rId8" Type="http://schemas.openxmlformats.org/officeDocument/2006/relationships/slide" Target="slides/slide7.xml"/><Relationship Id="rId51" Type="http://schemas.openxmlformats.org/officeDocument/2006/relationships/customXml" Target="../customXml/item1.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viewProps" Target="viewProps.xml"/><Relationship Id="rId20" Type="http://schemas.openxmlformats.org/officeDocument/2006/relationships/slide" Target="slides/slide19.xml"/><Relationship Id="rId41" Type="http://schemas.openxmlformats.org/officeDocument/2006/relationships/slide" Target="slides/slide40.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Cain, Caroline" userId="f5332823-2726-4128-ad93-a66ffa8f61df" providerId="ADAL" clId="{7ADE34FD-9F02-4CD9-B9DF-1F3A8AAE4844}"/>
    <pc:docChg chg="undo redo custSel addSld delSld modSld sldOrd">
      <pc:chgData name="Cain, Caroline" userId="f5332823-2726-4128-ad93-a66ffa8f61df" providerId="ADAL" clId="{7ADE34FD-9F02-4CD9-B9DF-1F3A8AAE4844}" dt="2020-07-14T16:48:41.050" v="4350" actId="27636"/>
      <pc:docMkLst>
        <pc:docMk/>
      </pc:docMkLst>
      <pc:sldChg chg="modSp mod">
        <pc:chgData name="Cain, Caroline" userId="f5332823-2726-4128-ad93-a66ffa8f61df" providerId="ADAL" clId="{7ADE34FD-9F02-4CD9-B9DF-1F3A8AAE4844}" dt="2020-07-14T12:23:44.420" v="49" actId="20577"/>
        <pc:sldMkLst>
          <pc:docMk/>
          <pc:sldMk cId="1300867260" sldId="256"/>
        </pc:sldMkLst>
        <pc:spChg chg="mod">
          <ac:chgData name="Cain, Caroline" userId="f5332823-2726-4128-ad93-a66ffa8f61df" providerId="ADAL" clId="{7ADE34FD-9F02-4CD9-B9DF-1F3A8AAE4844}" dt="2020-07-14T12:23:44.420" v="49" actId="20577"/>
          <ac:spMkLst>
            <pc:docMk/>
            <pc:sldMk cId="1300867260" sldId="256"/>
            <ac:spMk id="6" creationId="{00000000-0000-0000-0000-000000000000}"/>
          </ac:spMkLst>
        </pc:spChg>
      </pc:sldChg>
      <pc:sldChg chg="addSp delSp modSp add mod">
        <pc:chgData name="Cain, Caroline" userId="f5332823-2726-4128-ad93-a66ffa8f61df" providerId="ADAL" clId="{7ADE34FD-9F02-4CD9-B9DF-1F3A8AAE4844}" dt="2020-07-14T16:19:46.949" v="3904" actId="255"/>
        <pc:sldMkLst>
          <pc:docMk/>
          <pc:sldMk cId="301980407" sldId="378"/>
        </pc:sldMkLst>
        <pc:spChg chg="mod">
          <ac:chgData name="Cain, Caroline" userId="f5332823-2726-4128-ad93-a66ffa8f61df" providerId="ADAL" clId="{7ADE34FD-9F02-4CD9-B9DF-1F3A8AAE4844}" dt="2020-07-14T16:17:05.281" v="3702" actId="5793"/>
          <ac:spMkLst>
            <pc:docMk/>
            <pc:sldMk cId="301980407" sldId="378"/>
            <ac:spMk id="2" creationId="{FFF4C4A9-E3EC-A044-BFA0-7D8F9235D0A6}"/>
          </ac:spMkLst>
        </pc:spChg>
        <pc:spChg chg="mod">
          <ac:chgData name="Cain, Caroline" userId="f5332823-2726-4128-ad93-a66ffa8f61df" providerId="ADAL" clId="{7ADE34FD-9F02-4CD9-B9DF-1F3A8AAE4844}" dt="2020-07-14T16:19:33.731" v="3902" actId="255"/>
          <ac:spMkLst>
            <pc:docMk/>
            <pc:sldMk cId="301980407" sldId="378"/>
            <ac:spMk id="4" creationId="{FAF16795-8308-5B4A-A8C6-7A81FBEFC570}"/>
          </ac:spMkLst>
        </pc:spChg>
        <pc:spChg chg="del">
          <ac:chgData name="Cain, Caroline" userId="f5332823-2726-4128-ad93-a66ffa8f61df" providerId="ADAL" clId="{7ADE34FD-9F02-4CD9-B9DF-1F3A8AAE4844}" dt="2020-07-14T16:18:03.891" v="3752" actId="21"/>
          <ac:spMkLst>
            <pc:docMk/>
            <pc:sldMk cId="301980407" sldId="378"/>
            <ac:spMk id="5" creationId="{1328E609-6B43-C342-83FE-68DF90706AC1}"/>
          </ac:spMkLst>
        </pc:spChg>
        <pc:spChg chg="add del mod">
          <ac:chgData name="Cain, Caroline" userId="f5332823-2726-4128-ad93-a66ffa8f61df" providerId="ADAL" clId="{7ADE34FD-9F02-4CD9-B9DF-1F3A8AAE4844}" dt="2020-07-14T16:18:07.967" v="3753" actId="21"/>
          <ac:spMkLst>
            <pc:docMk/>
            <pc:sldMk cId="301980407" sldId="378"/>
            <ac:spMk id="8" creationId="{49BFFD7D-C7FD-4F39-B12C-91E39BBA65C4}"/>
          </ac:spMkLst>
        </pc:spChg>
        <pc:spChg chg="mod">
          <ac:chgData name="Cain, Caroline" userId="f5332823-2726-4128-ad93-a66ffa8f61df" providerId="ADAL" clId="{7ADE34FD-9F02-4CD9-B9DF-1F3A8AAE4844}" dt="2020-07-14T16:19:46.949" v="3904" actId="255"/>
          <ac:spMkLst>
            <pc:docMk/>
            <pc:sldMk cId="301980407" sldId="378"/>
            <ac:spMk id="33" creationId="{CCBAEC06-120C-4A0A-8C69-FB3579D1732B}"/>
          </ac:spMkLst>
        </pc:spChg>
      </pc:sldChg>
      <pc:sldChg chg="addSp delSp modSp add mod">
        <pc:chgData name="Cain, Caroline" userId="f5332823-2726-4128-ad93-a66ffa8f61df" providerId="ADAL" clId="{7ADE34FD-9F02-4CD9-B9DF-1F3A8AAE4844}" dt="2020-07-14T16:20:39.785" v="3912" actId="14100"/>
        <pc:sldMkLst>
          <pc:docMk/>
          <pc:sldMk cId="2325070620" sldId="379"/>
        </pc:sldMkLst>
        <pc:spChg chg="mod">
          <ac:chgData name="Cain, Caroline" userId="f5332823-2726-4128-ad93-a66ffa8f61df" providerId="ADAL" clId="{7ADE34FD-9F02-4CD9-B9DF-1F3A8AAE4844}" dt="2020-07-14T16:17:14.511" v="3726" actId="5793"/>
          <ac:spMkLst>
            <pc:docMk/>
            <pc:sldMk cId="2325070620" sldId="379"/>
            <ac:spMk id="2" creationId="{FFF4C4A9-E3EC-A044-BFA0-7D8F9235D0A6}"/>
          </ac:spMkLst>
        </pc:spChg>
        <pc:spChg chg="mod">
          <ac:chgData name="Cain, Caroline" userId="f5332823-2726-4128-ad93-a66ffa8f61df" providerId="ADAL" clId="{7ADE34FD-9F02-4CD9-B9DF-1F3A8AAE4844}" dt="2020-07-14T16:20:39.785" v="3912" actId="14100"/>
          <ac:spMkLst>
            <pc:docMk/>
            <pc:sldMk cId="2325070620" sldId="379"/>
            <ac:spMk id="4" creationId="{FAF16795-8308-5B4A-A8C6-7A81FBEFC570}"/>
          </ac:spMkLst>
        </pc:spChg>
        <pc:spChg chg="del">
          <ac:chgData name="Cain, Caroline" userId="f5332823-2726-4128-ad93-a66ffa8f61df" providerId="ADAL" clId="{7ADE34FD-9F02-4CD9-B9DF-1F3A8AAE4844}" dt="2020-07-14T16:20:21.223" v="3907" actId="21"/>
          <ac:spMkLst>
            <pc:docMk/>
            <pc:sldMk cId="2325070620" sldId="379"/>
            <ac:spMk id="5" creationId="{1328E609-6B43-C342-83FE-68DF90706AC1}"/>
          </ac:spMkLst>
        </pc:spChg>
        <pc:spChg chg="add del mod">
          <ac:chgData name="Cain, Caroline" userId="f5332823-2726-4128-ad93-a66ffa8f61df" providerId="ADAL" clId="{7ADE34FD-9F02-4CD9-B9DF-1F3A8AAE4844}" dt="2020-07-14T16:20:24.909" v="3908" actId="21"/>
          <ac:spMkLst>
            <pc:docMk/>
            <pc:sldMk cId="2325070620" sldId="379"/>
            <ac:spMk id="7" creationId="{5CCCD2B9-8E14-4750-8D92-B6254F72BB9E}"/>
          </ac:spMkLst>
        </pc:spChg>
      </pc:sldChg>
      <pc:sldChg chg="addSp delSp modSp add mod">
        <pc:chgData name="Cain, Caroline" userId="f5332823-2726-4128-ad93-a66ffa8f61df" providerId="ADAL" clId="{7ADE34FD-9F02-4CD9-B9DF-1F3A8AAE4844}" dt="2020-07-14T16:21:27.863" v="3926" actId="113"/>
        <pc:sldMkLst>
          <pc:docMk/>
          <pc:sldMk cId="2475686053" sldId="380"/>
        </pc:sldMkLst>
        <pc:spChg chg="mod">
          <ac:chgData name="Cain, Caroline" userId="f5332823-2726-4128-ad93-a66ffa8f61df" providerId="ADAL" clId="{7ADE34FD-9F02-4CD9-B9DF-1F3A8AAE4844}" dt="2020-07-14T16:17:23.109" v="3750" actId="5793"/>
          <ac:spMkLst>
            <pc:docMk/>
            <pc:sldMk cId="2475686053" sldId="380"/>
            <ac:spMk id="2" creationId="{FFF4C4A9-E3EC-A044-BFA0-7D8F9235D0A6}"/>
          </ac:spMkLst>
        </pc:spChg>
        <pc:spChg chg="del mod">
          <ac:chgData name="Cain, Caroline" userId="f5332823-2726-4128-ad93-a66ffa8f61df" providerId="ADAL" clId="{7ADE34FD-9F02-4CD9-B9DF-1F3A8AAE4844}" dt="2020-07-14T16:20:49.460" v="3914" actId="478"/>
          <ac:spMkLst>
            <pc:docMk/>
            <pc:sldMk cId="2475686053" sldId="380"/>
            <ac:spMk id="4" creationId="{FAF16795-8308-5B4A-A8C6-7A81FBEFC570}"/>
          </ac:spMkLst>
        </pc:spChg>
        <pc:spChg chg="del">
          <ac:chgData name="Cain, Caroline" userId="f5332823-2726-4128-ad93-a66ffa8f61df" providerId="ADAL" clId="{7ADE34FD-9F02-4CD9-B9DF-1F3A8AAE4844}" dt="2020-07-14T16:20:54.097" v="3917" actId="478"/>
          <ac:spMkLst>
            <pc:docMk/>
            <pc:sldMk cId="2475686053" sldId="380"/>
            <ac:spMk id="5" creationId="{1328E609-6B43-C342-83FE-68DF90706AC1}"/>
          </ac:spMkLst>
        </pc:spChg>
        <pc:spChg chg="add del mod">
          <ac:chgData name="Cain, Caroline" userId="f5332823-2726-4128-ad93-a66ffa8f61df" providerId="ADAL" clId="{7ADE34FD-9F02-4CD9-B9DF-1F3A8AAE4844}" dt="2020-07-14T16:20:51.484" v="3916" actId="478"/>
          <ac:spMkLst>
            <pc:docMk/>
            <pc:sldMk cId="2475686053" sldId="380"/>
            <ac:spMk id="8" creationId="{E638DA2C-5D09-4B3F-B421-7EFE6B4A28A4}"/>
          </ac:spMkLst>
        </pc:spChg>
        <pc:spChg chg="add del mod">
          <ac:chgData name="Cain, Caroline" userId="f5332823-2726-4128-ad93-a66ffa8f61df" providerId="ADAL" clId="{7ADE34FD-9F02-4CD9-B9DF-1F3A8AAE4844}" dt="2020-07-14T16:20:57.140" v="3918" actId="478"/>
          <ac:spMkLst>
            <pc:docMk/>
            <pc:sldMk cId="2475686053" sldId="380"/>
            <ac:spMk id="11" creationId="{5CC0DE01-9AAB-4F14-AA88-6850B6355E55}"/>
          </ac:spMkLst>
        </pc:spChg>
        <pc:spChg chg="add mod">
          <ac:chgData name="Cain, Caroline" userId="f5332823-2726-4128-ad93-a66ffa8f61df" providerId="ADAL" clId="{7ADE34FD-9F02-4CD9-B9DF-1F3A8AAE4844}" dt="2020-07-14T16:21:18.447" v="3923" actId="1076"/>
          <ac:spMkLst>
            <pc:docMk/>
            <pc:sldMk cId="2475686053" sldId="380"/>
            <ac:spMk id="26" creationId="{AFFC2C78-4399-47B4-A65A-9A4A93FAD71B}"/>
          </ac:spMkLst>
        </pc:spChg>
        <pc:spChg chg="mod">
          <ac:chgData name="Cain, Caroline" userId="f5332823-2726-4128-ad93-a66ffa8f61df" providerId="ADAL" clId="{7ADE34FD-9F02-4CD9-B9DF-1F3A8AAE4844}" dt="2020-07-14T16:21:27.863" v="3926" actId="113"/>
          <ac:spMkLst>
            <pc:docMk/>
            <pc:sldMk cId="2475686053" sldId="380"/>
            <ac:spMk id="33" creationId="{CCBAEC06-120C-4A0A-8C69-FB3579D1732B}"/>
          </ac:spMkLst>
        </pc:spChg>
      </pc:sldChg>
      <pc:sldChg chg="addSp modSp add mod">
        <pc:chgData name="Cain, Caroline" userId="f5332823-2726-4128-ad93-a66ffa8f61df" providerId="ADAL" clId="{7ADE34FD-9F02-4CD9-B9DF-1F3A8AAE4844}" dt="2020-07-14T12:38:51.811" v="368" actId="1076"/>
        <pc:sldMkLst>
          <pc:docMk/>
          <pc:sldMk cId="752845867" sldId="2642"/>
        </pc:sldMkLst>
        <pc:spChg chg="mod">
          <ac:chgData name="Cain, Caroline" userId="f5332823-2726-4128-ad93-a66ffa8f61df" providerId="ADAL" clId="{7ADE34FD-9F02-4CD9-B9DF-1F3A8AAE4844}" dt="2020-07-14T12:31:54.421" v="319" actId="20577"/>
          <ac:spMkLst>
            <pc:docMk/>
            <pc:sldMk cId="752845867" sldId="2642"/>
            <ac:spMk id="2" creationId="{00000000-0000-0000-0000-000000000000}"/>
          </ac:spMkLst>
        </pc:spChg>
        <pc:spChg chg="mod">
          <ac:chgData name="Cain, Caroline" userId="f5332823-2726-4128-ad93-a66ffa8f61df" providerId="ADAL" clId="{7ADE34FD-9F02-4CD9-B9DF-1F3A8AAE4844}" dt="2020-07-14T12:37:51.904" v="361"/>
          <ac:spMkLst>
            <pc:docMk/>
            <pc:sldMk cId="752845867" sldId="2642"/>
            <ac:spMk id="3" creationId="{00000000-0000-0000-0000-000000000000}"/>
          </ac:spMkLst>
        </pc:spChg>
        <pc:picChg chg="add mod">
          <ac:chgData name="Cain, Caroline" userId="f5332823-2726-4128-ad93-a66ffa8f61df" providerId="ADAL" clId="{7ADE34FD-9F02-4CD9-B9DF-1F3A8AAE4844}" dt="2020-07-14T12:38:51.811" v="368" actId="1076"/>
          <ac:picMkLst>
            <pc:docMk/>
            <pc:sldMk cId="752845867" sldId="2642"/>
            <ac:picMk id="7" creationId="{B7945F48-3D24-4187-B719-5A6AFC5323CF}"/>
          </ac:picMkLst>
        </pc:picChg>
        <pc:picChg chg="add mod">
          <ac:chgData name="Cain, Caroline" userId="f5332823-2726-4128-ad93-a66ffa8f61df" providerId="ADAL" clId="{7ADE34FD-9F02-4CD9-B9DF-1F3A8AAE4844}" dt="2020-07-14T12:38:48.092" v="367" actId="1076"/>
          <ac:picMkLst>
            <pc:docMk/>
            <pc:sldMk cId="752845867" sldId="2642"/>
            <ac:picMk id="9" creationId="{67EFC27E-68D1-4AD7-8C06-3AC2443400D4}"/>
          </ac:picMkLst>
        </pc:picChg>
      </pc:sldChg>
      <pc:sldChg chg="addSp delSp modSp add mod">
        <pc:chgData name="Cain, Caroline" userId="f5332823-2726-4128-ad93-a66ffa8f61df" providerId="ADAL" clId="{7ADE34FD-9F02-4CD9-B9DF-1F3A8AAE4844}" dt="2020-07-14T16:22:31.239" v="3953" actId="1076"/>
        <pc:sldMkLst>
          <pc:docMk/>
          <pc:sldMk cId="4270969295" sldId="2652"/>
        </pc:sldMkLst>
        <pc:spChg chg="del mod">
          <ac:chgData name="Cain, Caroline" userId="f5332823-2726-4128-ad93-a66ffa8f61df" providerId="ADAL" clId="{7ADE34FD-9F02-4CD9-B9DF-1F3A8AAE4844}" dt="2020-07-14T12:28:49.274" v="292" actId="478"/>
          <ac:spMkLst>
            <pc:docMk/>
            <pc:sldMk cId="4270969295" sldId="2652"/>
            <ac:spMk id="4" creationId="{00000000-0000-0000-0000-000000000000}"/>
          </ac:spMkLst>
        </pc:spChg>
        <pc:spChg chg="mod">
          <ac:chgData name="Cain, Caroline" userId="f5332823-2726-4128-ad93-a66ffa8f61df" providerId="ADAL" clId="{7ADE34FD-9F02-4CD9-B9DF-1F3A8AAE4844}" dt="2020-07-14T12:28:54.532" v="294" actId="6549"/>
          <ac:spMkLst>
            <pc:docMk/>
            <pc:sldMk cId="4270969295" sldId="2652"/>
            <ac:spMk id="5" creationId="{00000000-0000-0000-0000-000000000000}"/>
          </ac:spMkLst>
        </pc:spChg>
        <pc:spChg chg="mod">
          <ac:chgData name="Cain, Caroline" userId="f5332823-2726-4128-ad93-a66ffa8f61df" providerId="ADAL" clId="{7ADE34FD-9F02-4CD9-B9DF-1F3A8AAE4844}" dt="2020-07-14T16:22:31.239" v="3953" actId="1076"/>
          <ac:spMkLst>
            <pc:docMk/>
            <pc:sldMk cId="4270969295" sldId="2652"/>
            <ac:spMk id="6" creationId="{7E0856F1-71B6-4E2F-B0A2-52A93FCC498B}"/>
          </ac:spMkLst>
        </pc:spChg>
        <pc:picChg chg="add del mod">
          <ac:chgData name="Cain, Caroline" userId="f5332823-2726-4128-ad93-a66ffa8f61df" providerId="ADAL" clId="{7ADE34FD-9F02-4CD9-B9DF-1F3A8AAE4844}" dt="2020-07-14T12:27:58.768" v="284" actId="478"/>
          <ac:picMkLst>
            <pc:docMk/>
            <pc:sldMk cId="4270969295" sldId="2652"/>
            <ac:picMk id="8" creationId="{1FC4B3B1-9D97-4A83-991B-F3F657EED4A0}"/>
          </ac:picMkLst>
        </pc:picChg>
      </pc:sldChg>
      <pc:sldChg chg="del">
        <pc:chgData name="Cain, Caroline" userId="f5332823-2726-4128-ad93-a66ffa8f61df" providerId="ADAL" clId="{7ADE34FD-9F02-4CD9-B9DF-1F3A8AAE4844}" dt="2020-07-14T15:38:58.690" v="2271" actId="2696"/>
        <pc:sldMkLst>
          <pc:docMk/>
          <pc:sldMk cId="154948372" sldId="2793"/>
        </pc:sldMkLst>
      </pc:sldChg>
      <pc:sldChg chg="del">
        <pc:chgData name="Cain, Caroline" userId="f5332823-2726-4128-ad93-a66ffa8f61df" providerId="ADAL" clId="{7ADE34FD-9F02-4CD9-B9DF-1F3A8AAE4844}" dt="2020-07-14T15:38:55.022" v="2270" actId="2696"/>
        <pc:sldMkLst>
          <pc:docMk/>
          <pc:sldMk cId="1706412072" sldId="2794"/>
        </pc:sldMkLst>
      </pc:sldChg>
      <pc:sldChg chg="del">
        <pc:chgData name="Cain, Caroline" userId="f5332823-2726-4128-ad93-a66ffa8f61df" providerId="ADAL" clId="{7ADE34FD-9F02-4CD9-B9DF-1F3A8AAE4844}" dt="2020-07-14T15:38:47.071" v="2269" actId="2696"/>
        <pc:sldMkLst>
          <pc:docMk/>
          <pc:sldMk cId="1470181579" sldId="2795"/>
        </pc:sldMkLst>
      </pc:sldChg>
      <pc:sldChg chg="addSp delSp modSp mod ord">
        <pc:chgData name="Cain, Caroline" userId="f5332823-2726-4128-ad93-a66ffa8f61df" providerId="ADAL" clId="{7ADE34FD-9F02-4CD9-B9DF-1F3A8AAE4844}" dt="2020-07-14T15:35:06.123" v="2224"/>
        <pc:sldMkLst>
          <pc:docMk/>
          <pc:sldMk cId="789223132" sldId="2796"/>
        </pc:sldMkLst>
        <pc:spChg chg="add del mod">
          <ac:chgData name="Cain, Caroline" userId="f5332823-2726-4128-ad93-a66ffa8f61df" providerId="ADAL" clId="{7ADE34FD-9F02-4CD9-B9DF-1F3A8AAE4844}" dt="2020-07-14T15:32:16.024" v="2102" actId="21"/>
          <ac:spMkLst>
            <pc:docMk/>
            <pc:sldMk cId="789223132" sldId="2796"/>
            <ac:spMk id="3" creationId="{1DB09992-9AD0-4E25-AE10-708CD8A2A1DD}"/>
          </ac:spMkLst>
        </pc:spChg>
        <pc:spChg chg="add del mod">
          <ac:chgData name="Cain, Caroline" userId="f5332823-2726-4128-ad93-a66ffa8f61df" providerId="ADAL" clId="{7ADE34FD-9F02-4CD9-B9DF-1F3A8AAE4844}" dt="2020-07-14T15:34:13.475" v="2220" actId="113"/>
          <ac:spMkLst>
            <pc:docMk/>
            <pc:sldMk cId="789223132" sldId="2796"/>
            <ac:spMk id="4" creationId="{00000000-0000-0000-0000-000000000000}"/>
          </ac:spMkLst>
        </pc:spChg>
        <pc:spChg chg="del mod">
          <ac:chgData name="Cain, Caroline" userId="f5332823-2726-4128-ad93-a66ffa8f61df" providerId="ADAL" clId="{7ADE34FD-9F02-4CD9-B9DF-1F3A8AAE4844}" dt="2020-07-14T15:32:35.755" v="2106" actId="21"/>
          <ac:spMkLst>
            <pc:docMk/>
            <pc:sldMk cId="789223132" sldId="2796"/>
            <ac:spMk id="5" creationId="{00000000-0000-0000-0000-000000000000}"/>
          </ac:spMkLst>
        </pc:spChg>
        <pc:spChg chg="add del mod">
          <ac:chgData name="Cain, Caroline" userId="f5332823-2726-4128-ad93-a66ffa8f61df" providerId="ADAL" clId="{7ADE34FD-9F02-4CD9-B9DF-1F3A8AAE4844}" dt="2020-07-14T15:32:50.349" v="2134" actId="21"/>
          <ac:spMkLst>
            <pc:docMk/>
            <pc:sldMk cId="789223132" sldId="2796"/>
            <ac:spMk id="7" creationId="{EAA48834-46D7-4D07-BA7A-7A3FC2281E25}"/>
          </ac:spMkLst>
        </pc:spChg>
      </pc:sldChg>
      <pc:sldChg chg="addSp delSp modSp add mod">
        <pc:chgData name="Cain, Caroline" userId="f5332823-2726-4128-ad93-a66ffa8f61df" providerId="ADAL" clId="{7ADE34FD-9F02-4CD9-B9DF-1F3A8AAE4844}" dt="2020-07-14T16:23:50.399" v="4024" actId="20577"/>
        <pc:sldMkLst>
          <pc:docMk/>
          <pc:sldMk cId="587820277" sldId="2797"/>
        </pc:sldMkLst>
        <pc:spChg chg="mod">
          <ac:chgData name="Cain, Caroline" userId="f5332823-2726-4128-ad93-a66ffa8f61df" providerId="ADAL" clId="{7ADE34FD-9F02-4CD9-B9DF-1F3A8AAE4844}" dt="2020-07-14T12:47:10.183" v="530" actId="20577"/>
          <ac:spMkLst>
            <pc:docMk/>
            <pc:sldMk cId="587820277" sldId="2797"/>
            <ac:spMk id="2" creationId="{00000000-0000-0000-0000-000000000000}"/>
          </ac:spMkLst>
        </pc:spChg>
        <pc:spChg chg="del mod">
          <ac:chgData name="Cain, Caroline" userId="f5332823-2726-4128-ad93-a66ffa8f61df" providerId="ADAL" clId="{7ADE34FD-9F02-4CD9-B9DF-1F3A8AAE4844}" dt="2020-07-14T12:36:51.687" v="354" actId="21"/>
          <ac:spMkLst>
            <pc:docMk/>
            <pc:sldMk cId="587820277" sldId="2797"/>
            <ac:spMk id="3" creationId="{00000000-0000-0000-0000-000000000000}"/>
          </ac:spMkLst>
        </pc:spChg>
        <pc:spChg chg="add del mod">
          <ac:chgData name="Cain, Caroline" userId="f5332823-2726-4128-ad93-a66ffa8f61df" providerId="ADAL" clId="{7ADE34FD-9F02-4CD9-B9DF-1F3A8AAE4844}" dt="2020-07-14T16:23:50.399" v="4024" actId="20577"/>
          <ac:spMkLst>
            <pc:docMk/>
            <pc:sldMk cId="587820277" sldId="2797"/>
            <ac:spMk id="8" creationId="{C5202A71-F2C7-4343-8836-320079B58734}"/>
          </ac:spMkLst>
        </pc:spChg>
        <pc:spChg chg="add del mod">
          <ac:chgData name="Cain, Caroline" userId="f5332823-2726-4128-ad93-a66ffa8f61df" providerId="ADAL" clId="{7ADE34FD-9F02-4CD9-B9DF-1F3A8AAE4844}" dt="2020-07-14T12:37:04.273" v="357"/>
          <ac:spMkLst>
            <pc:docMk/>
            <pc:sldMk cId="587820277" sldId="2797"/>
            <ac:spMk id="9" creationId="{F34A1B6D-2C24-4810-932A-220E9F550F52}"/>
          </ac:spMkLst>
        </pc:spChg>
        <pc:picChg chg="del">
          <ac:chgData name="Cain, Caroline" userId="f5332823-2726-4128-ad93-a66ffa8f61df" providerId="ADAL" clId="{7ADE34FD-9F02-4CD9-B9DF-1F3A8AAE4844}" dt="2020-07-14T12:36:56.133" v="355" actId="478"/>
          <ac:picMkLst>
            <pc:docMk/>
            <pc:sldMk cId="587820277" sldId="2797"/>
            <ac:picMk id="7" creationId="{B7945F48-3D24-4187-B719-5A6AFC5323CF}"/>
          </ac:picMkLst>
        </pc:picChg>
      </pc:sldChg>
      <pc:sldChg chg="addSp modSp new mod">
        <pc:chgData name="Cain, Caroline" userId="f5332823-2726-4128-ad93-a66ffa8f61df" providerId="ADAL" clId="{7ADE34FD-9F02-4CD9-B9DF-1F3A8AAE4844}" dt="2020-07-14T16:33:30.210" v="4257" actId="1076"/>
        <pc:sldMkLst>
          <pc:docMk/>
          <pc:sldMk cId="1950888170" sldId="2798"/>
        </pc:sldMkLst>
        <pc:spChg chg="mod">
          <ac:chgData name="Cain, Caroline" userId="f5332823-2726-4128-ad93-a66ffa8f61df" providerId="ADAL" clId="{7ADE34FD-9F02-4CD9-B9DF-1F3A8AAE4844}" dt="2020-07-14T12:47:04.742" v="529" actId="20577"/>
          <ac:spMkLst>
            <pc:docMk/>
            <pc:sldMk cId="1950888170" sldId="2798"/>
            <ac:spMk id="2" creationId="{904E4E6B-6F36-46E4-87E0-7BADA20A42E6}"/>
          </ac:spMkLst>
        </pc:spChg>
        <pc:spChg chg="mod">
          <ac:chgData name="Cain, Caroline" userId="f5332823-2726-4128-ad93-a66ffa8f61df" providerId="ADAL" clId="{7ADE34FD-9F02-4CD9-B9DF-1F3A8AAE4844}" dt="2020-07-14T16:33:28.706" v="4256" actId="27636"/>
          <ac:spMkLst>
            <pc:docMk/>
            <pc:sldMk cId="1950888170" sldId="2798"/>
            <ac:spMk id="3" creationId="{0BAE01C3-7853-4BCB-B22F-226BD412395C}"/>
          </ac:spMkLst>
        </pc:spChg>
        <pc:picChg chg="add mod">
          <ac:chgData name="Cain, Caroline" userId="f5332823-2726-4128-ad93-a66ffa8f61df" providerId="ADAL" clId="{7ADE34FD-9F02-4CD9-B9DF-1F3A8AAE4844}" dt="2020-07-14T16:33:30.210" v="4257" actId="1076"/>
          <ac:picMkLst>
            <pc:docMk/>
            <pc:sldMk cId="1950888170" sldId="2798"/>
            <ac:picMk id="4" creationId="{C6ABBC7C-D0EB-42D7-A1B7-0B48B1508C52}"/>
          </ac:picMkLst>
        </pc:picChg>
      </pc:sldChg>
      <pc:sldChg chg="addSp modSp new mod">
        <pc:chgData name="Cain, Caroline" userId="f5332823-2726-4128-ad93-a66ffa8f61df" providerId="ADAL" clId="{7ADE34FD-9F02-4CD9-B9DF-1F3A8AAE4844}" dt="2020-07-14T16:35:32.333" v="4272" actId="1076"/>
        <pc:sldMkLst>
          <pc:docMk/>
          <pc:sldMk cId="1518843083" sldId="2799"/>
        </pc:sldMkLst>
        <pc:spChg chg="mod">
          <ac:chgData name="Cain, Caroline" userId="f5332823-2726-4128-ad93-a66ffa8f61df" providerId="ADAL" clId="{7ADE34FD-9F02-4CD9-B9DF-1F3A8AAE4844}" dt="2020-07-14T12:51:47.610" v="673" actId="113"/>
          <ac:spMkLst>
            <pc:docMk/>
            <pc:sldMk cId="1518843083" sldId="2799"/>
            <ac:spMk id="2" creationId="{11D96BF3-9846-4D8F-9C2A-0D9E4D93292A}"/>
          </ac:spMkLst>
        </pc:spChg>
        <pc:spChg chg="mod">
          <ac:chgData name="Cain, Caroline" userId="f5332823-2726-4128-ad93-a66ffa8f61df" providerId="ADAL" clId="{7ADE34FD-9F02-4CD9-B9DF-1F3A8AAE4844}" dt="2020-07-14T16:35:29.852" v="4271" actId="27636"/>
          <ac:spMkLst>
            <pc:docMk/>
            <pc:sldMk cId="1518843083" sldId="2799"/>
            <ac:spMk id="3" creationId="{FABCC5AE-50CD-48DD-BEF0-81F1F77722B4}"/>
          </ac:spMkLst>
        </pc:spChg>
        <pc:picChg chg="add mod ord">
          <ac:chgData name="Cain, Caroline" userId="f5332823-2726-4128-ad93-a66ffa8f61df" providerId="ADAL" clId="{7ADE34FD-9F02-4CD9-B9DF-1F3A8AAE4844}" dt="2020-07-14T16:35:32.333" v="4272" actId="1076"/>
          <ac:picMkLst>
            <pc:docMk/>
            <pc:sldMk cId="1518843083" sldId="2799"/>
            <ac:picMk id="5" creationId="{F98862E3-AACA-48D8-B8E4-EFC7A53954D9}"/>
          </ac:picMkLst>
        </pc:picChg>
      </pc:sldChg>
      <pc:sldChg chg="modSp new mod">
        <pc:chgData name="Cain, Caroline" userId="f5332823-2726-4128-ad93-a66ffa8f61df" providerId="ADAL" clId="{7ADE34FD-9F02-4CD9-B9DF-1F3A8AAE4844}" dt="2020-07-14T13:05:45.864" v="1003" actId="20577"/>
        <pc:sldMkLst>
          <pc:docMk/>
          <pc:sldMk cId="4068742213" sldId="2800"/>
        </pc:sldMkLst>
        <pc:spChg chg="mod">
          <ac:chgData name="Cain, Caroline" userId="f5332823-2726-4128-ad93-a66ffa8f61df" providerId="ADAL" clId="{7ADE34FD-9F02-4CD9-B9DF-1F3A8AAE4844}" dt="2020-07-14T12:54:33.204" v="687" actId="20577"/>
          <ac:spMkLst>
            <pc:docMk/>
            <pc:sldMk cId="4068742213" sldId="2800"/>
            <ac:spMk id="2" creationId="{CCAE01D7-7025-4F98-A810-B2922B74C458}"/>
          </ac:spMkLst>
        </pc:spChg>
        <pc:spChg chg="mod">
          <ac:chgData name="Cain, Caroline" userId="f5332823-2726-4128-ad93-a66ffa8f61df" providerId="ADAL" clId="{7ADE34FD-9F02-4CD9-B9DF-1F3A8AAE4844}" dt="2020-07-14T13:05:45.864" v="1003" actId="20577"/>
          <ac:spMkLst>
            <pc:docMk/>
            <pc:sldMk cId="4068742213" sldId="2800"/>
            <ac:spMk id="3" creationId="{09A277D9-CD59-4D31-89F7-74C0FA6B7F81}"/>
          </ac:spMkLst>
        </pc:spChg>
      </pc:sldChg>
      <pc:sldChg chg="modSp new mod">
        <pc:chgData name="Cain, Caroline" userId="f5332823-2726-4128-ad93-a66ffa8f61df" providerId="ADAL" clId="{7ADE34FD-9F02-4CD9-B9DF-1F3A8AAE4844}" dt="2020-07-14T16:28:18.599" v="4166" actId="115"/>
        <pc:sldMkLst>
          <pc:docMk/>
          <pc:sldMk cId="969574809" sldId="2801"/>
        </pc:sldMkLst>
        <pc:spChg chg="mod">
          <ac:chgData name="Cain, Caroline" userId="f5332823-2726-4128-ad93-a66ffa8f61df" providerId="ADAL" clId="{7ADE34FD-9F02-4CD9-B9DF-1F3A8AAE4844}" dt="2020-07-14T12:56:21.163" v="726" actId="5793"/>
          <ac:spMkLst>
            <pc:docMk/>
            <pc:sldMk cId="969574809" sldId="2801"/>
            <ac:spMk id="2" creationId="{083D5CD5-5BA8-44BC-9EF1-2FC50D838CDC}"/>
          </ac:spMkLst>
        </pc:spChg>
        <pc:spChg chg="mod">
          <ac:chgData name="Cain, Caroline" userId="f5332823-2726-4128-ad93-a66ffa8f61df" providerId="ADAL" clId="{7ADE34FD-9F02-4CD9-B9DF-1F3A8AAE4844}" dt="2020-07-14T16:28:18.599" v="4166" actId="115"/>
          <ac:spMkLst>
            <pc:docMk/>
            <pc:sldMk cId="969574809" sldId="2801"/>
            <ac:spMk id="3" creationId="{E7B79169-C99A-4608-A4A9-EB80BF3C1680}"/>
          </ac:spMkLst>
        </pc:spChg>
      </pc:sldChg>
      <pc:sldChg chg="modSp new mod">
        <pc:chgData name="Cain, Caroline" userId="f5332823-2726-4128-ad93-a66ffa8f61df" providerId="ADAL" clId="{7ADE34FD-9F02-4CD9-B9DF-1F3A8AAE4844}" dt="2020-07-14T16:35:51.464" v="4274" actId="255"/>
        <pc:sldMkLst>
          <pc:docMk/>
          <pc:sldMk cId="3948704610" sldId="2802"/>
        </pc:sldMkLst>
        <pc:spChg chg="mod">
          <ac:chgData name="Cain, Caroline" userId="f5332823-2726-4128-ad93-a66ffa8f61df" providerId="ADAL" clId="{7ADE34FD-9F02-4CD9-B9DF-1F3A8AAE4844}" dt="2020-07-14T13:00:54.391" v="875" actId="20577"/>
          <ac:spMkLst>
            <pc:docMk/>
            <pc:sldMk cId="3948704610" sldId="2802"/>
            <ac:spMk id="2" creationId="{18A6CEEA-A544-4F13-8543-83DD54BA03E1}"/>
          </ac:spMkLst>
        </pc:spChg>
        <pc:spChg chg="mod">
          <ac:chgData name="Cain, Caroline" userId="f5332823-2726-4128-ad93-a66ffa8f61df" providerId="ADAL" clId="{7ADE34FD-9F02-4CD9-B9DF-1F3A8AAE4844}" dt="2020-07-14T16:35:51.464" v="4274" actId="255"/>
          <ac:spMkLst>
            <pc:docMk/>
            <pc:sldMk cId="3948704610" sldId="2802"/>
            <ac:spMk id="3" creationId="{325BA8C7-470D-4ECD-8384-BF094C532730}"/>
          </ac:spMkLst>
        </pc:spChg>
      </pc:sldChg>
      <pc:sldChg chg="addSp modSp new mod">
        <pc:chgData name="Cain, Caroline" userId="f5332823-2726-4128-ad93-a66ffa8f61df" providerId="ADAL" clId="{7ADE34FD-9F02-4CD9-B9DF-1F3A8AAE4844}" dt="2020-07-14T16:40:41.048" v="4297" actId="207"/>
        <pc:sldMkLst>
          <pc:docMk/>
          <pc:sldMk cId="3557941407" sldId="2803"/>
        </pc:sldMkLst>
        <pc:spChg chg="mod">
          <ac:chgData name="Cain, Caroline" userId="f5332823-2726-4128-ad93-a66ffa8f61df" providerId="ADAL" clId="{7ADE34FD-9F02-4CD9-B9DF-1F3A8AAE4844}" dt="2020-07-14T13:03:52.606" v="951" actId="20577"/>
          <ac:spMkLst>
            <pc:docMk/>
            <pc:sldMk cId="3557941407" sldId="2803"/>
            <ac:spMk id="2" creationId="{7965986E-286D-478F-9CD1-748692002F67}"/>
          </ac:spMkLst>
        </pc:spChg>
        <pc:spChg chg="mod">
          <ac:chgData name="Cain, Caroline" userId="f5332823-2726-4128-ad93-a66ffa8f61df" providerId="ADAL" clId="{7ADE34FD-9F02-4CD9-B9DF-1F3A8AAE4844}" dt="2020-07-14T16:36:09.783" v="4276" actId="113"/>
          <ac:spMkLst>
            <pc:docMk/>
            <pc:sldMk cId="3557941407" sldId="2803"/>
            <ac:spMk id="3" creationId="{CBC69F65-B013-4292-B0FD-B3A812E36219}"/>
          </ac:spMkLst>
        </pc:spChg>
        <pc:spChg chg="add mod">
          <ac:chgData name="Cain, Caroline" userId="f5332823-2726-4128-ad93-a66ffa8f61df" providerId="ADAL" clId="{7ADE34FD-9F02-4CD9-B9DF-1F3A8AAE4844}" dt="2020-07-14T16:40:41.048" v="4297" actId="207"/>
          <ac:spMkLst>
            <pc:docMk/>
            <pc:sldMk cId="3557941407" sldId="2803"/>
            <ac:spMk id="4" creationId="{FA413319-10BC-4C25-A04C-E61CCEA3F80C}"/>
          </ac:spMkLst>
        </pc:spChg>
      </pc:sldChg>
      <pc:sldChg chg="addSp modSp new mod">
        <pc:chgData name="Cain, Caroline" userId="f5332823-2726-4128-ad93-a66ffa8f61df" providerId="ADAL" clId="{7ADE34FD-9F02-4CD9-B9DF-1F3A8AAE4844}" dt="2020-07-14T16:32:38.272" v="4253" actId="1076"/>
        <pc:sldMkLst>
          <pc:docMk/>
          <pc:sldMk cId="2559509722" sldId="2804"/>
        </pc:sldMkLst>
        <pc:spChg chg="mod">
          <ac:chgData name="Cain, Caroline" userId="f5332823-2726-4128-ad93-a66ffa8f61df" providerId="ADAL" clId="{7ADE34FD-9F02-4CD9-B9DF-1F3A8AAE4844}" dt="2020-07-14T13:16:46.699" v="1096" actId="5793"/>
          <ac:spMkLst>
            <pc:docMk/>
            <pc:sldMk cId="2559509722" sldId="2804"/>
            <ac:spMk id="2" creationId="{C02DB980-337C-4710-BC40-DA9F1DE91D22}"/>
          </ac:spMkLst>
        </pc:spChg>
        <pc:spChg chg="mod">
          <ac:chgData name="Cain, Caroline" userId="f5332823-2726-4128-ad93-a66ffa8f61df" providerId="ADAL" clId="{7ADE34FD-9F02-4CD9-B9DF-1F3A8AAE4844}" dt="2020-07-14T16:32:34.190" v="4251" actId="14100"/>
          <ac:spMkLst>
            <pc:docMk/>
            <pc:sldMk cId="2559509722" sldId="2804"/>
            <ac:spMk id="3" creationId="{C76D38B4-B1DF-4D34-A211-73F396E514C5}"/>
          </ac:spMkLst>
        </pc:spChg>
        <pc:picChg chg="add mod">
          <ac:chgData name="Cain, Caroline" userId="f5332823-2726-4128-ad93-a66ffa8f61df" providerId="ADAL" clId="{7ADE34FD-9F02-4CD9-B9DF-1F3A8AAE4844}" dt="2020-07-14T16:32:38.272" v="4253" actId="1076"/>
          <ac:picMkLst>
            <pc:docMk/>
            <pc:sldMk cId="2559509722" sldId="2804"/>
            <ac:picMk id="4" creationId="{E6ED91BD-E7BB-4D53-95E2-F876E4B4786E}"/>
          </ac:picMkLst>
        </pc:picChg>
      </pc:sldChg>
      <pc:sldChg chg="addSp modSp new mod">
        <pc:chgData name="Cain, Caroline" userId="f5332823-2726-4128-ad93-a66ffa8f61df" providerId="ADAL" clId="{7ADE34FD-9F02-4CD9-B9DF-1F3A8AAE4844}" dt="2020-07-14T13:31:49.167" v="1672" actId="1076"/>
        <pc:sldMkLst>
          <pc:docMk/>
          <pc:sldMk cId="1176477321" sldId="2805"/>
        </pc:sldMkLst>
        <pc:spChg chg="mod">
          <ac:chgData name="Cain, Caroline" userId="f5332823-2726-4128-ad93-a66ffa8f61df" providerId="ADAL" clId="{7ADE34FD-9F02-4CD9-B9DF-1F3A8AAE4844}" dt="2020-07-14T13:19:29.915" v="1106"/>
          <ac:spMkLst>
            <pc:docMk/>
            <pc:sldMk cId="1176477321" sldId="2805"/>
            <ac:spMk id="2" creationId="{D4B4B7EC-8630-47A7-B2F5-E6043094D91C}"/>
          </ac:spMkLst>
        </pc:spChg>
        <pc:spChg chg="mod">
          <ac:chgData name="Cain, Caroline" userId="f5332823-2726-4128-ad93-a66ffa8f61df" providerId="ADAL" clId="{7ADE34FD-9F02-4CD9-B9DF-1F3A8AAE4844}" dt="2020-07-14T13:31:22.158" v="1671" actId="255"/>
          <ac:spMkLst>
            <pc:docMk/>
            <pc:sldMk cId="1176477321" sldId="2805"/>
            <ac:spMk id="3" creationId="{0402CFAE-F904-477F-A89A-630832026662}"/>
          </ac:spMkLst>
        </pc:spChg>
        <pc:picChg chg="add mod">
          <ac:chgData name="Cain, Caroline" userId="f5332823-2726-4128-ad93-a66ffa8f61df" providerId="ADAL" clId="{7ADE34FD-9F02-4CD9-B9DF-1F3A8AAE4844}" dt="2020-07-14T13:31:49.167" v="1672" actId="1076"/>
          <ac:picMkLst>
            <pc:docMk/>
            <pc:sldMk cId="1176477321" sldId="2805"/>
            <ac:picMk id="5" creationId="{3157879A-C797-49A4-9A7F-EBF899258523}"/>
          </ac:picMkLst>
        </pc:picChg>
      </pc:sldChg>
      <pc:sldChg chg="modSp new mod">
        <pc:chgData name="Cain, Caroline" userId="f5332823-2726-4128-ad93-a66ffa8f61df" providerId="ADAL" clId="{7ADE34FD-9F02-4CD9-B9DF-1F3A8AAE4844}" dt="2020-07-14T16:41:15.927" v="4300" actId="255"/>
        <pc:sldMkLst>
          <pc:docMk/>
          <pc:sldMk cId="2428704379" sldId="2806"/>
        </pc:sldMkLst>
        <pc:spChg chg="mod">
          <ac:chgData name="Cain, Caroline" userId="f5332823-2726-4128-ad93-a66ffa8f61df" providerId="ADAL" clId="{7ADE34FD-9F02-4CD9-B9DF-1F3A8AAE4844}" dt="2020-07-14T13:56:22.409" v="1883" actId="1076"/>
          <ac:spMkLst>
            <pc:docMk/>
            <pc:sldMk cId="2428704379" sldId="2806"/>
            <ac:spMk id="2" creationId="{F23414A5-B236-4CD9-8746-546433F26284}"/>
          </ac:spMkLst>
        </pc:spChg>
        <pc:spChg chg="mod">
          <ac:chgData name="Cain, Caroline" userId="f5332823-2726-4128-ad93-a66ffa8f61df" providerId="ADAL" clId="{7ADE34FD-9F02-4CD9-B9DF-1F3A8AAE4844}" dt="2020-07-14T16:41:15.927" v="4300" actId="255"/>
          <ac:spMkLst>
            <pc:docMk/>
            <pc:sldMk cId="2428704379" sldId="2806"/>
            <ac:spMk id="3" creationId="{1259B41F-C93B-4CBE-A4C4-263EE9BFEE4E}"/>
          </ac:spMkLst>
        </pc:spChg>
      </pc:sldChg>
      <pc:sldChg chg="modSp new mod">
        <pc:chgData name="Cain, Caroline" userId="f5332823-2726-4128-ad93-a66ffa8f61df" providerId="ADAL" clId="{7ADE34FD-9F02-4CD9-B9DF-1F3A8AAE4844}" dt="2020-07-14T16:38:11.060" v="4280" actId="5793"/>
        <pc:sldMkLst>
          <pc:docMk/>
          <pc:sldMk cId="2243959287" sldId="2807"/>
        </pc:sldMkLst>
        <pc:spChg chg="mod">
          <ac:chgData name="Cain, Caroline" userId="f5332823-2726-4128-ad93-a66ffa8f61df" providerId="ADAL" clId="{7ADE34FD-9F02-4CD9-B9DF-1F3A8AAE4844}" dt="2020-07-14T13:56:54.676" v="1912" actId="20577"/>
          <ac:spMkLst>
            <pc:docMk/>
            <pc:sldMk cId="2243959287" sldId="2807"/>
            <ac:spMk id="2" creationId="{07766964-5C88-45B8-9497-D8DA21164C94}"/>
          </ac:spMkLst>
        </pc:spChg>
        <pc:spChg chg="mod">
          <ac:chgData name="Cain, Caroline" userId="f5332823-2726-4128-ad93-a66ffa8f61df" providerId="ADAL" clId="{7ADE34FD-9F02-4CD9-B9DF-1F3A8AAE4844}" dt="2020-07-14T16:38:11.060" v="4280" actId="5793"/>
          <ac:spMkLst>
            <pc:docMk/>
            <pc:sldMk cId="2243959287" sldId="2807"/>
            <ac:spMk id="3" creationId="{D35BE0A7-6E64-456E-A909-A1BA112E8E52}"/>
          </ac:spMkLst>
        </pc:spChg>
      </pc:sldChg>
      <pc:sldChg chg="modSp new mod">
        <pc:chgData name="Cain, Caroline" userId="f5332823-2726-4128-ad93-a66ffa8f61df" providerId="ADAL" clId="{7ADE34FD-9F02-4CD9-B9DF-1F3A8AAE4844}" dt="2020-07-14T16:38:41.273" v="4281" actId="313"/>
        <pc:sldMkLst>
          <pc:docMk/>
          <pc:sldMk cId="2064959559" sldId="2808"/>
        </pc:sldMkLst>
        <pc:spChg chg="mod">
          <ac:chgData name="Cain, Caroline" userId="f5332823-2726-4128-ad93-a66ffa8f61df" providerId="ADAL" clId="{7ADE34FD-9F02-4CD9-B9DF-1F3A8AAE4844}" dt="2020-07-14T15:31:15.903" v="2043" actId="5793"/>
          <ac:spMkLst>
            <pc:docMk/>
            <pc:sldMk cId="2064959559" sldId="2808"/>
            <ac:spMk id="2" creationId="{3B5B19E6-2ECF-41EA-BEDD-2C9D74E9A941}"/>
          </ac:spMkLst>
        </pc:spChg>
        <pc:spChg chg="mod">
          <ac:chgData name="Cain, Caroline" userId="f5332823-2726-4128-ad93-a66ffa8f61df" providerId="ADAL" clId="{7ADE34FD-9F02-4CD9-B9DF-1F3A8AAE4844}" dt="2020-07-14T16:38:41.273" v="4281" actId="313"/>
          <ac:spMkLst>
            <pc:docMk/>
            <pc:sldMk cId="2064959559" sldId="2808"/>
            <ac:spMk id="3" creationId="{0A42AF05-46A0-441A-B63A-CCAF6F74CBC7}"/>
          </ac:spMkLst>
        </pc:spChg>
      </pc:sldChg>
      <pc:sldChg chg="modSp add mod ord">
        <pc:chgData name="Cain, Caroline" userId="f5332823-2726-4128-ad93-a66ffa8f61df" providerId="ADAL" clId="{7ADE34FD-9F02-4CD9-B9DF-1F3A8AAE4844}" dt="2020-07-14T15:34:06.017" v="2219" actId="113"/>
        <pc:sldMkLst>
          <pc:docMk/>
          <pc:sldMk cId="2102861254" sldId="2809"/>
        </pc:sldMkLst>
        <pc:spChg chg="mod">
          <ac:chgData name="Cain, Caroline" userId="f5332823-2726-4128-ad93-a66ffa8f61df" providerId="ADAL" clId="{7ADE34FD-9F02-4CD9-B9DF-1F3A8AAE4844}" dt="2020-07-14T15:34:06.017" v="2219" actId="113"/>
          <ac:spMkLst>
            <pc:docMk/>
            <pc:sldMk cId="2102861254" sldId="2809"/>
            <ac:spMk id="4" creationId="{00000000-0000-0000-0000-000000000000}"/>
          </ac:spMkLst>
        </pc:spChg>
      </pc:sldChg>
      <pc:sldChg chg="modSp add mod ord">
        <pc:chgData name="Cain, Caroline" userId="f5332823-2726-4128-ad93-a66ffa8f61df" providerId="ADAL" clId="{7ADE34FD-9F02-4CD9-B9DF-1F3A8AAE4844}" dt="2020-07-14T15:33:55.748" v="2218" actId="113"/>
        <pc:sldMkLst>
          <pc:docMk/>
          <pc:sldMk cId="3724775009" sldId="2810"/>
        </pc:sldMkLst>
        <pc:spChg chg="mod">
          <ac:chgData name="Cain, Caroline" userId="f5332823-2726-4128-ad93-a66ffa8f61df" providerId="ADAL" clId="{7ADE34FD-9F02-4CD9-B9DF-1F3A8AAE4844}" dt="2020-07-14T15:33:55.748" v="2218" actId="113"/>
          <ac:spMkLst>
            <pc:docMk/>
            <pc:sldMk cId="3724775009" sldId="2810"/>
            <ac:spMk id="4" creationId="{00000000-0000-0000-0000-000000000000}"/>
          </ac:spMkLst>
        </pc:spChg>
      </pc:sldChg>
      <pc:sldChg chg="modSp new mod">
        <pc:chgData name="Cain, Caroline" userId="f5332823-2726-4128-ad93-a66ffa8f61df" providerId="ADAL" clId="{7ADE34FD-9F02-4CD9-B9DF-1F3A8AAE4844}" dt="2020-07-14T15:39:55.291" v="2296" actId="20577"/>
        <pc:sldMkLst>
          <pc:docMk/>
          <pc:sldMk cId="644671148" sldId="2811"/>
        </pc:sldMkLst>
        <pc:spChg chg="mod">
          <ac:chgData name="Cain, Caroline" userId="f5332823-2726-4128-ad93-a66ffa8f61df" providerId="ADAL" clId="{7ADE34FD-9F02-4CD9-B9DF-1F3A8AAE4844}" dt="2020-07-14T15:37:25.515" v="2245" actId="113"/>
          <ac:spMkLst>
            <pc:docMk/>
            <pc:sldMk cId="644671148" sldId="2811"/>
            <ac:spMk id="2" creationId="{BD315D03-717A-4A84-8BC8-34B47EC6CE2C}"/>
          </ac:spMkLst>
        </pc:spChg>
        <pc:spChg chg="mod">
          <ac:chgData name="Cain, Caroline" userId="f5332823-2726-4128-ad93-a66ffa8f61df" providerId="ADAL" clId="{7ADE34FD-9F02-4CD9-B9DF-1F3A8AAE4844}" dt="2020-07-14T15:39:55.291" v="2296" actId="20577"/>
          <ac:spMkLst>
            <pc:docMk/>
            <pc:sldMk cId="644671148" sldId="2811"/>
            <ac:spMk id="3" creationId="{F8CB0062-B5BE-498C-866C-07ED1F43C3C4}"/>
          </ac:spMkLst>
        </pc:spChg>
      </pc:sldChg>
      <pc:sldChg chg="modSp new mod">
        <pc:chgData name="Cain, Caroline" userId="f5332823-2726-4128-ad93-a66ffa8f61df" providerId="ADAL" clId="{7ADE34FD-9F02-4CD9-B9DF-1F3A8AAE4844}" dt="2020-07-14T16:42:43.427" v="4306" actId="255"/>
        <pc:sldMkLst>
          <pc:docMk/>
          <pc:sldMk cId="3896501109" sldId="2812"/>
        </pc:sldMkLst>
        <pc:spChg chg="mod">
          <ac:chgData name="Cain, Caroline" userId="f5332823-2726-4128-ad93-a66ffa8f61df" providerId="ADAL" clId="{7ADE34FD-9F02-4CD9-B9DF-1F3A8AAE4844}" dt="2020-07-14T15:39:13.663" v="2278" actId="20577"/>
          <ac:spMkLst>
            <pc:docMk/>
            <pc:sldMk cId="3896501109" sldId="2812"/>
            <ac:spMk id="2" creationId="{CF3B3140-DEC1-470E-B515-21B41D7DBF24}"/>
          </ac:spMkLst>
        </pc:spChg>
        <pc:spChg chg="mod">
          <ac:chgData name="Cain, Caroline" userId="f5332823-2726-4128-ad93-a66ffa8f61df" providerId="ADAL" clId="{7ADE34FD-9F02-4CD9-B9DF-1F3A8AAE4844}" dt="2020-07-14T16:42:43.427" v="4306" actId="255"/>
          <ac:spMkLst>
            <pc:docMk/>
            <pc:sldMk cId="3896501109" sldId="2812"/>
            <ac:spMk id="3" creationId="{19794C33-1205-4B6A-86F1-D27448A52C7E}"/>
          </ac:spMkLst>
        </pc:spChg>
      </pc:sldChg>
      <pc:sldChg chg="addSp modSp new mod">
        <pc:chgData name="Cain, Caroline" userId="f5332823-2726-4128-ad93-a66ffa8f61df" providerId="ADAL" clId="{7ADE34FD-9F02-4CD9-B9DF-1F3A8AAE4844}" dt="2020-07-14T16:44:32.447" v="4319" actId="1076"/>
        <pc:sldMkLst>
          <pc:docMk/>
          <pc:sldMk cId="2215661799" sldId="2813"/>
        </pc:sldMkLst>
        <pc:spChg chg="mod">
          <ac:chgData name="Cain, Caroline" userId="f5332823-2726-4128-ad93-a66ffa8f61df" providerId="ADAL" clId="{7ADE34FD-9F02-4CD9-B9DF-1F3A8AAE4844}" dt="2020-07-14T15:41:23.108" v="2352" actId="20577"/>
          <ac:spMkLst>
            <pc:docMk/>
            <pc:sldMk cId="2215661799" sldId="2813"/>
            <ac:spMk id="2" creationId="{6B9D665B-B113-4166-9A1F-E8D1F8BF97CA}"/>
          </ac:spMkLst>
        </pc:spChg>
        <pc:spChg chg="mod">
          <ac:chgData name="Cain, Caroline" userId="f5332823-2726-4128-ad93-a66ffa8f61df" providerId="ADAL" clId="{7ADE34FD-9F02-4CD9-B9DF-1F3A8AAE4844}" dt="2020-07-14T16:42:59.358" v="4310" actId="20577"/>
          <ac:spMkLst>
            <pc:docMk/>
            <pc:sldMk cId="2215661799" sldId="2813"/>
            <ac:spMk id="3" creationId="{4A8ACF9B-4397-4CD5-BFEF-585F46E93042}"/>
          </ac:spMkLst>
        </pc:spChg>
        <pc:picChg chg="add mod">
          <ac:chgData name="Cain, Caroline" userId="f5332823-2726-4128-ad93-a66ffa8f61df" providerId="ADAL" clId="{7ADE34FD-9F02-4CD9-B9DF-1F3A8AAE4844}" dt="2020-07-14T16:44:32.447" v="4319" actId="1076"/>
          <ac:picMkLst>
            <pc:docMk/>
            <pc:sldMk cId="2215661799" sldId="2813"/>
            <ac:picMk id="5" creationId="{5D34EFA1-BC97-4784-841B-51DC74D688D1}"/>
          </ac:picMkLst>
        </pc:picChg>
      </pc:sldChg>
      <pc:sldChg chg="addSp modSp new mod">
        <pc:chgData name="Cain, Caroline" userId="f5332823-2726-4128-ad93-a66ffa8f61df" providerId="ADAL" clId="{7ADE34FD-9F02-4CD9-B9DF-1F3A8AAE4844}" dt="2020-07-14T16:46:19.267" v="4324" actId="167"/>
        <pc:sldMkLst>
          <pc:docMk/>
          <pc:sldMk cId="2137350370" sldId="2814"/>
        </pc:sldMkLst>
        <pc:spChg chg="mod">
          <ac:chgData name="Cain, Caroline" userId="f5332823-2726-4128-ad93-a66ffa8f61df" providerId="ADAL" clId="{7ADE34FD-9F02-4CD9-B9DF-1F3A8AAE4844}" dt="2020-07-14T15:42:47.298" v="2412" actId="20577"/>
          <ac:spMkLst>
            <pc:docMk/>
            <pc:sldMk cId="2137350370" sldId="2814"/>
            <ac:spMk id="2" creationId="{14B48BDC-E1C0-452A-8F5A-212A3A983515}"/>
          </ac:spMkLst>
        </pc:spChg>
        <pc:spChg chg="mod">
          <ac:chgData name="Cain, Caroline" userId="f5332823-2726-4128-ad93-a66ffa8f61df" providerId="ADAL" clId="{7ADE34FD-9F02-4CD9-B9DF-1F3A8AAE4844}" dt="2020-07-14T16:29:07.064" v="4168" actId="115"/>
          <ac:spMkLst>
            <pc:docMk/>
            <pc:sldMk cId="2137350370" sldId="2814"/>
            <ac:spMk id="3" creationId="{AE0A9650-6515-41F3-A566-37DAA8A1A5F1}"/>
          </ac:spMkLst>
        </pc:spChg>
        <pc:picChg chg="add mod">
          <ac:chgData name="Cain, Caroline" userId="f5332823-2726-4128-ad93-a66ffa8f61df" providerId="ADAL" clId="{7ADE34FD-9F02-4CD9-B9DF-1F3A8AAE4844}" dt="2020-07-14T16:45:10.399" v="4321" actId="1076"/>
          <ac:picMkLst>
            <pc:docMk/>
            <pc:sldMk cId="2137350370" sldId="2814"/>
            <ac:picMk id="4" creationId="{AB596574-5962-4948-B3B8-1C12DDAF79EC}"/>
          </ac:picMkLst>
        </pc:picChg>
        <pc:picChg chg="add mod ord">
          <ac:chgData name="Cain, Caroline" userId="f5332823-2726-4128-ad93-a66ffa8f61df" providerId="ADAL" clId="{7ADE34FD-9F02-4CD9-B9DF-1F3A8AAE4844}" dt="2020-07-14T16:46:19.267" v="4324" actId="167"/>
          <ac:picMkLst>
            <pc:docMk/>
            <pc:sldMk cId="2137350370" sldId="2814"/>
            <ac:picMk id="6" creationId="{AA206AA6-C621-4970-97B3-9F478619D565}"/>
          </ac:picMkLst>
        </pc:picChg>
      </pc:sldChg>
      <pc:sldChg chg="modSp add mod ord">
        <pc:chgData name="Cain, Caroline" userId="f5332823-2726-4128-ad93-a66ffa8f61df" providerId="ADAL" clId="{7ADE34FD-9F02-4CD9-B9DF-1F3A8AAE4844}" dt="2020-07-14T15:45:27.167" v="2498" actId="20577"/>
        <pc:sldMkLst>
          <pc:docMk/>
          <pc:sldMk cId="2462582788" sldId="2815"/>
        </pc:sldMkLst>
        <pc:spChg chg="mod">
          <ac:chgData name="Cain, Caroline" userId="f5332823-2726-4128-ad93-a66ffa8f61df" providerId="ADAL" clId="{7ADE34FD-9F02-4CD9-B9DF-1F3A8AAE4844}" dt="2020-07-14T15:45:27.167" v="2498" actId="20577"/>
          <ac:spMkLst>
            <pc:docMk/>
            <pc:sldMk cId="2462582788" sldId="2815"/>
            <ac:spMk id="4" creationId="{00000000-0000-0000-0000-000000000000}"/>
          </ac:spMkLst>
        </pc:spChg>
      </pc:sldChg>
      <pc:sldChg chg="new del">
        <pc:chgData name="Cain, Caroline" userId="f5332823-2726-4128-ad93-a66ffa8f61df" providerId="ADAL" clId="{7ADE34FD-9F02-4CD9-B9DF-1F3A8AAE4844}" dt="2020-07-14T15:46:05.198" v="2500" actId="680"/>
        <pc:sldMkLst>
          <pc:docMk/>
          <pc:sldMk cId="2274510205" sldId="2816"/>
        </pc:sldMkLst>
      </pc:sldChg>
      <pc:sldChg chg="modSp new mod ord">
        <pc:chgData name="Cain, Caroline" userId="f5332823-2726-4128-ad93-a66ffa8f61df" providerId="ADAL" clId="{7ADE34FD-9F02-4CD9-B9DF-1F3A8AAE4844}" dt="2020-07-14T16:00:13.793" v="2903" actId="115"/>
        <pc:sldMkLst>
          <pc:docMk/>
          <pc:sldMk cId="4204719866" sldId="2816"/>
        </pc:sldMkLst>
        <pc:spChg chg="mod">
          <ac:chgData name="Cain, Caroline" userId="f5332823-2726-4128-ad93-a66ffa8f61df" providerId="ADAL" clId="{7ADE34FD-9F02-4CD9-B9DF-1F3A8AAE4844}" dt="2020-07-14T15:46:54.837" v="2512"/>
          <ac:spMkLst>
            <pc:docMk/>
            <pc:sldMk cId="4204719866" sldId="2816"/>
            <ac:spMk id="2" creationId="{D8B553C9-4913-4530-BFDD-4F94B5D5250C}"/>
          </ac:spMkLst>
        </pc:spChg>
        <pc:spChg chg="mod">
          <ac:chgData name="Cain, Caroline" userId="f5332823-2726-4128-ad93-a66ffa8f61df" providerId="ADAL" clId="{7ADE34FD-9F02-4CD9-B9DF-1F3A8AAE4844}" dt="2020-07-14T16:00:13.793" v="2903" actId="115"/>
          <ac:spMkLst>
            <pc:docMk/>
            <pc:sldMk cId="4204719866" sldId="2816"/>
            <ac:spMk id="3" creationId="{F6BB5586-199F-45A7-B36C-54DC7F8E2FF5}"/>
          </ac:spMkLst>
        </pc:spChg>
      </pc:sldChg>
      <pc:sldChg chg="modSp new mod">
        <pc:chgData name="Cain, Caroline" userId="f5332823-2726-4128-ad93-a66ffa8f61df" providerId="ADAL" clId="{7ADE34FD-9F02-4CD9-B9DF-1F3A8AAE4844}" dt="2020-07-14T16:06:06.969" v="3402" actId="12"/>
        <pc:sldMkLst>
          <pc:docMk/>
          <pc:sldMk cId="4018491077" sldId="2817"/>
        </pc:sldMkLst>
        <pc:spChg chg="mod">
          <ac:chgData name="Cain, Caroline" userId="f5332823-2726-4128-ad93-a66ffa8f61df" providerId="ADAL" clId="{7ADE34FD-9F02-4CD9-B9DF-1F3A8AAE4844}" dt="2020-07-14T15:49:16.752" v="2519"/>
          <ac:spMkLst>
            <pc:docMk/>
            <pc:sldMk cId="4018491077" sldId="2817"/>
            <ac:spMk id="2" creationId="{DBF8AA4F-33CD-4561-98B6-1F7BB52BD2D5}"/>
          </ac:spMkLst>
        </pc:spChg>
        <pc:spChg chg="mod">
          <ac:chgData name="Cain, Caroline" userId="f5332823-2726-4128-ad93-a66ffa8f61df" providerId="ADAL" clId="{7ADE34FD-9F02-4CD9-B9DF-1F3A8AAE4844}" dt="2020-07-14T16:06:06.969" v="3402" actId="12"/>
          <ac:spMkLst>
            <pc:docMk/>
            <pc:sldMk cId="4018491077" sldId="2817"/>
            <ac:spMk id="3" creationId="{D3D802BC-CE4E-4FA1-97CA-292373994FDD}"/>
          </ac:spMkLst>
        </pc:spChg>
      </pc:sldChg>
      <pc:sldChg chg="modSp new mod">
        <pc:chgData name="Cain, Caroline" userId="f5332823-2726-4128-ad93-a66ffa8f61df" providerId="ADAL" clId="{7ADE34FD-9F02-4CD9-B9DF-1F3A8AAE4844}" dt="2020-07-14T16:06:44.085" v="3411" actId="1076"/>
        <pc:sldMkLst>
          <pc:docMk/>
          <pc:sldMk cId="423326897" sldId="2818"/>
        </pc:sldMkLst>
        <pc:spChg chg="mod">
          <ac:chgData name="Cain, Caroline" userId="f5332823-2726-4128-ad93-a66ffa8f61df" providerId="ADAL" clId="{7ADE34FD-9F02-4CD9-B9DF-1F3A8AAE4844}" dt="2020-07-14T15:59:25.565" v="2897"/>
          <ac:spMkLst>
            <pc:docMk/>
            <pc:sldMk cId="423326897" sldId="2818"/>
            <ac:spMk id="2" creationId="{CF426017-D900-49A6-8F8C-E2AE8C4B246B}"/>
          </ac:spMkLst>
        </pc:spChg>
        <pc:spChg chg="mod">
          <ac:chgData name="Cain, Caroline" userId="f5332823-2726-4128-ad93-a66ffa8f61df" providerId="ADAL" clId="{7ADE34FD-9F02-4CD9-B9DF-1F3A8AAE4844}" dt="2020-07-14T16:06:44.085" v="3411" actId="1076"/>
          <ac:spMkLst>
            <pc:docMk/>
            <pc:sldMk cId="423326897" sldId="2818"/>
            <ac:spMk id="3" creationId="{A4404B8E-B036-45AA-B953-21702FBA3A5A}"/>
          </ac:spMkLst>
        </pc:spChg>
      </pc:sldChg>
      <pc:sldChg chg="modSp new mod">
        <pc:chgData name="Cain, Caroline" userId="f5332823-2726-4128-ad93-a66ffa8f61df" providerId="ADAL" clId="{7ADE34FD-9F02-4CD9-B9DF-1F3A8AAE4844}" dt="2020-07-14T16:07:00.414" v="3421" actId="20577"/>
        <pc:sldMkLst>
          <pc:docMk/>
          <pc:sldMk cId="3598947866" sldId="2819"/>
        </pc:sldMkLst>
        <pc:spChg chg="mod">
          <ac:chgData name="Cain, Caroline" userId="f5332823-2726-4128-ad93-a66ffa8f61df" providerId="ADAL" clId="{7ADE34FD-9F02-4CD9-B9DF-1F3A8AAE4844}" dt="2020-07-14T15:59:28.681" v="2898"/>
          <ac:spMkLst>
            <pc:docMk/>
            <pc:sldMk cId="3598947866" sldId="2819"/>
            <ac:spMk id="2" creationId="{46944DE6-7460-4475-9A4A-1F35E2B59F86}"/>
          </ac:spMkLst>
        </pc:spChg>
        <pc:spChg chg="mod">
          <ac:chgData name="Cain, Caroline" userId="f5332823-2726-4128-ad93-a66ffa8f61df" providerId="ADAL" clId="{7ADE34FD-9F02-4CD9-B9DF-1F3A8AAE4844}" dt="2020-07-14T16:07:00.414" v="3421" actId="20577"/>
          <ac:spMkLst>
            <pc:docMk/>
            <pc:sldMk cId="3598947866" sldId="2819"/>
            <ac:spMk id="3" creationId="{9A7C75A6-BBE5-43E7-9EDD-4514583539F5}"/>
          </ac:spMkLst>
        </pc:spChg>
      </pc:sldChg>
      <pc:sldChg chg="modSp new mod">
        <pc:chgData name="Cain, Caroline" userId="f5332823-2726-4128-ad93-a66ffa8f61df" providerId="ADAL" clId="{7ADE34FD-9F02-4CD9-B9DF-1F3A8AAE4844}" dt="2020-07-14T16:39:12.285" v="4286" actId="20577"/>
        <pc:sldMkLst>
          <pc:docMk/>
          <pc:sldMk cId="3582066394" sldId="2820"/>
        </pc:sldMkLst>
        <pc:spChg chg="mod">
          <ac:chgData name="Cain, Caroline" userId="f5332823-2726-4128-ad93-a66ffa8f61df" providerId="ADAL" clId="{7ADE34FD-9F02-4CD9-B9DF-1F3A8AAE4844}" dt="2020-07-14T15:59:31.810" v="2899"/>
          <ac:spMkLst>
            <pc:docMk/>
            <pc:sldMk cId="3582066394" sldId="2820"/>
            <ac:spMk id="2" creationId="{B0310A5C-21E1-4431-AF23-160E16CD3213}"/>
          </ac:spMkLst>
        </pc:spChg>
        <pc:spChg chg="mod">
          <ac:chgData name="Cain, Caroline" userId="f5332823-2726-4128-ad93-a66ffa8f61df" providerId="ADAL" clId="{7ADE34FD-9F02-4CD9-B9DF-1F3A8AAE4844}" dt="2020-07-14T16:39:12.285" v="4286" actId="20577"/>
          <ac:spMkLst>
            <pc:docMk/>
            <pc:sldMk cId="3582066394" sldId="2820"/>
            <ac:spMk id="3" creationId="{B07E3964-6A52-4F88-A384-D7F1B642436E}"/>
          </ac:spMkLst>
        </pc:spChg>
      </pc:sldChg>
      <pc:sldChg chg="addSp modSp new mod">
        <pc:chgData name="Cain, Caroline" userId="f5332823-2726-4128-ad93-a66ffa8f61df" providerId="ADAL" clId="{7ADE34FD-9F02-4CD9-B9DF-1F3A8AAE4844}" dt="2020-07-14T16:48:01.018" v="4333" actId="1076"/>
        <pc:sldMkLst>
          <pc:docMk/>
          <pc:sldMk cId="1884586426" sldId="2821"/>
        </pc:sldMkLst>
        <pc:spChg chg="mod">
          <ac:chgData name="Cain, Caroline" userId="f5332823-2726-4128-ad93-a66ffa8f61df" providerId="ADAL" clId="{7ADE34FD-9F02-4CD9-B9DF-1F3A8AAE4844}" dt="2020-07-14T15:53:23.849" v="2542" actId="113"/>
          <ac:spMkLst>
            <pc:docMk/>
            <pc:sldMk cId="1884586426" sldId="2821"/>
            <ac:spMk id="2" creationId="{F54A2854-9A65-4E7A-A4E0-BB92396CBB3A}"/>
          </ac:spMkLst>
        </pc:spChg>
        <pc:spChg chg="mod">
          <ac:chgData name="Cain, Caroline" userId="f5332823-2726-4128-ad93-a66ffa8f61df" providerId="ADAL" clId="{7ADE34FD-9F02-4CD9-B9DF-1F3A8AAE4844}" dt="2020-07-14T16:47:58.980" v="4332" actId="14100"/>
          <ac:spMkLst>
            <pc:docMk/>
            <pc:sldMk cId="1884586426" sldId="2821"/>
            <ac:spMk id="3" creationId="{4806059C-26CA-494B-8451-FC58D865B1C7}"/>
          </ac:spMkLst>
        </pc:spChg>
        <pc:picChg chg="add mod">
          <ac:chgData name="Cain, Caroline" userId="f5332823-2726-4128-ad93-a66ffa8f61df" providerId="ADAL" clId="{7ADE34FD-9F02-4CD9-B9DF-1F3A8AAE4844}" dt="2020-07-14T16:48:01.018" v="4333" actId="1076"/>
          <ac:picMkLst>
            <pc:docMk/>
            <pc:sldMk cId="1884586426" sldId="2821"/>
            <ac:picMk id="5" creationId="{7B904DC3-BCC8-4A3C-A35A-63F4EEACB5DB}"/>
          </ac:picMkLst>
        </pc:picChg>
      </pc:sldChg>
      <pc:sldChg chg="modSp new mod">
        <pc:chgData name="Cain, Caroline" userId="f5332823-2726-4128-ad93-a66ffa8f61df" providerId="ADAL" clId="{7ADE34FD-9F02-4CD9-B9DF-1F3A8AAE4844}" dt="2020-07-14T16:47:00.186" v="4326" actId="255"/>
        <pc:sldMkLst>
          <pc:docMk/>
          <pc:sldMk cId="239058637" sldId="2822"/>
        </pc:sldMkLst>
        <pc:spChg chg="mod">
          <ac:chgData name="Cain, Caroline" userId="f5332823-2726-4128-ad93-a66ffa8f61df" providerId="ADAL" clId="{7ADE34FD-9F02-4CD9-B9DF-1F3A8AAE4844}" dt="2020-07-14T15:53:44.857" v="2551" actId="1076"/>
          <ac:spMkLst>
            <pc:docMk/>
            <pc:sldMk cId="239058637" sldId="2822"/>
            <ac:spMk id="2" creationId="{88375997-3E4C-40F4-98A9-E543749E6EAC}"/>
          </ac:spMkLst>
        </pc:spChg>
        <pc:spChg chg="mod">
          <ac:chgData name="Cain, Caroline" userId="f5332823-2726-4128-ad93-a66ffa8f61df" providerId="ADAL" clId="{7ADE34FD-9F02-4CD9-B9DF-1F3A8AAE4844}" dt="2020-07-14T16:47:00.186" v="4326" actId="255"/>
          <ac:spMkLst>
            <pc:docMk/>
            <pc:sldMk cId="239058637" sldId="2822"/>
            <ac:spMk id="3" creationId="{B04016AA-887E-44FF-A4AC-618A1289A958}"/>
          </ac:spMkLst>
        </pc:spChg>
      </pc:sldChg>
      <pc:sldChg chg="modSp add mod ord">
        <pc:chgData name="Cain, Caroline" userId="f5332823-2726-4128-ad93-a66ffa8f61df" providerId="ADAL" clId="{7ADE34FD-9F02-4CD9-B9DF-1F3A8AAE4844}" dt="2020-07-14T16:13:57.760" v="3635" actId="1076"/>
        <pc:sldMkLst>
          <pc:docMk/>
          <pc:sldMk cId="2571298448" sldId="2823"/>
        </pc:sldMkLst>
        <pc:spChg chg="mod">
          <ac:chgData name="Cain, Caroline" userId="f5332823-2726-4128-ad93-a66ffa8f61df" providerId="ADAL" clId="{7ADE34FD-9F02-4CD9-B9DF-1F3A8AAE4844}" dt="2020-07-14T16:13:57.760" v="3635" actId="1076"/>
          <ac:spMkLst>
            <pc:docMk/>
            <pc:sldMk cId="2571298448" sldId="2823"/>
            <ac:spMk id="4" creationId="{00000000-0000-0000-0000-000000000000}"/>
          </ac:spMkLst>
        </pc:spChg>
      </pc:sldChg>
      <pc:sldChg chg="modSp new mod ord">
        <pc:chgData name="Cain, Caroline" userId="f5332823-2726-4128-ad93-a66ffa8f61df" providerId="ADAL" clId="{7ADE34FD-9F02-4CD9-B9DF-1F3A8AAE4844}" dt="2020-07-14T16:48:41.050" v="4350" actId="27636"/>
        <pc:sldMkLst>
          <pc:docMk/>
          <pc:sldMk cId="3534509950" sldId="2824"/>
        </pc:sldMkLst>
        <pc:spChg chg="mod">
          <ac:chgData name="Cain, Caroline" userId="f5332823-2726-4128-ad93-a66ffa8f61df" providerId="ADAL" clId="{7ADE34FD-9F02-4CD9-B9DF-1F3A8AAE4844}" dt="2020-07-14T16:10:36.504" v="3529" actId="5793"/>
          <ac:spMkLst>
            <pc:docMk/>
            <pc:sldMk cId="3534509950" sldId="2824"/>
            <ac:spMk id="2" creationId="{B79A6567-0F6D-4ADB-B9B5-F428A7C16061}"/>
          </ac:spMkLst>
        </pc:spChg>
        <pc:spChg chg="mod">
          <ac:chgData name="Cain, Caroline" userId="f5332823-2726-4128-ad93-a66ffa8f61df" providerId="ADAL" clId="{7ADE34FD-9F02-4CD9-B9DF-1F3A8AAE4844}" dt="2020-07-14T16:48:41.050" v="4350" actId="27636"/>
          <ac:spMkLst>
            <pc:docMk/>
            <pc:sldMk cId="3534509950" sldId="2824"/>
            <ac:spMk id="3" creationId="{7DC8F84F-35C1-4313-9C78-E8289047CF96}"/>
          </ac:spMkLst>
        </pc:spChg>
      </pc:sldChg>
      <pc:sldChg chg="modSp new mod">
        <pc:chgData name="Cain, Caroline" userId="f5332823-2726-4128-ad93-a66ffa8f61df" providerId="ADAL" clId="{7ADE34FD-9F02-4CD9-B9DF-1F3A8AAE4844}" dt="2020-07-14T16:31:22.618" v="4250" actId="113"/>
        <pc:sldMkLst>
          <pc:docMk/>
          <pc:sldMk cId="4054411799" sldId="2825"/>
        </pc:sldMkLst>
        <pc:spChg chg="mod">
          <ac:chgData name="Cain, Caroline" userId="f5332823-2726-4128-ad93-a66ffa8f61df" providerId="ADAL" clId="{7ADE34FD-9F02-4CD9-B9DF-1F3A8AAE4844}" dt="2020-07-14T16:11:41.437" v="3586" actId="5793"/>
          <ac:spMkLst>
            <pc:docMk/>
            <pc:sldMk cId="4054411799" sldId="2825"/>
            <ac:spMk id="2" creationId="{E038AA60-84ED-46F0-965F-CBAC332D08A2}"/>
          </ac:spMkLst>
        </pc:spChg>
        <pc:spChg chg="mod">
          <ac:chgData name="Cain, Caroline" userId="f5332823-2726-4128-ad93-a66ffa8f61df" providerId="ADAL" clId="{7ADE34FD-9F02-4CD9-B9DF-1F3A8AAE4844}" dt="2020-07-14T16:31:22.618" v="4250" actId="113"/>
          <ac:spMkLst>
            <pc:docMk/>
            <pc:sldMk cId="4054411799" sldId="2825"/>
            <ac:spMk id="3" creationId="{A88E035D-014A-4BBD-9D15-B5A556D89BE0}"/>
          </ac:spMkLst>
        </pc:spChg>
      </pc:sldChg>
      <pc:sldChg chg="new del">
        <pc:chgData name="Cain, Caroline" userId="f5332823-2726-4128-ad93-a66ffa8f61df" providerId="ADAL" clId="{7ADE34FD-9F02-4CD9-B9DF-1F3A8AAE4844}" dt="2020-07-14T16:14:03.333" v="3636" actId="2696"/>
        <pc:sldMkLst>
          <pc:docMk/>
          <pc:sldMk cId="1867900923" sldId="2826"/>
        </pc:sldMkLst>
      </pc:sldChg>
      <pc:sldChg chg="modSp add mod">
        <pc:chgData name="Cain, Caroline" userId="f5332823-2726-4128-ad93-a66ffa8f61df" providerId="ADAL" clId="{7ADE34FD-9F02-4CD9-B9DF-1F3A8AAE4844}" dt="2020-07-14T16:16:30.152" v="3678" actId="5793"/>
        <pc:sldMkLst>
          <pc:docMk/>
          <pc:sldMk cId="4222788370" sldId="2826"/>
        </pc:sldMkLst>
        <pc:spChg chg="mod">
          <ac:chgData name="Cain, Caroline" userId="f5332823-2726-4128-ad93-a66ffa8f61df" providerId="ADAL" clId="{7ADE34FD-9F02-4CD9-B9DF-1F3A8AAE4844}" dt="2020-07-14T16:16:17.050" v="3676" actId="14100"/>
          <ac:spMkLst>
            <pc:docMk/>
            <pc:sldMk cId="4222788370" sldId="2826"/>
            <ac:spMk id="2" creationId="{00000000-0000-0000-0000-000000000000}"/>
          </ac:spMkLst>
        </pc:spChg>
        <pc:spChg chg="mod">
          <ac:chgData name="Cain, Caroline" userId="f5332823-2726-4128-ad93-a66ffa8f61df" providerId="ADAL" clId="{7ADE34FD-9F02-4CD9-B9DF-1F3A8AAE4844}" dt="2020-07-14T16:16:30.152" v="3678" actId="5793"/>
          <ac:spMkLst>
            <pc:docMk/>
            <pc:sldMk cId="4222788370" sldId="2826"/>
            <ac:spMk id="3" creationId="{00000000-0000-0000-0000-000000000000}"/>
          </ac:spMkLst>
        </pc:spChg>
        <pc:spChg chg="mod">
          <ac:chgData name="Cain, Caroline" userId="f5332823-2726-4128-ad93-a66ffa8f61df" providerId="ADAL" clId="{7ADE34FD-9F02-4CD9-B9DF-1F3A8AAE4844}" dt="2020-07-14T16:15:42.547" v="3673" actId="20577"/>
          <ac:spMkLst>
            <pc:docMk/>
            <pc:sldMk cId="4222788370" sldId="2826"/>
            <ac:spMk id="6" creationId="{00000000-0000-0000-0000-000000000000}"/>
          </ac:spMkLst>
        </pc:spChg>
      </pc:sldChg>
      <pc:sldChg chg="modSp add mod">
        <pc:chgData name="Cain, Caroline" userId="f5332823-2726-4128-ad93-a66ffa8f61df" providerId="ADAL" clId="{7ADE34FD-9F02-4CD9-B9DF-1F3A8AAE4844}" dt="2020-07-14T16:16:08.530" v="3675" actId="14100"/>
        <pc:sldMkLst>
          <pc:docMk/>
          <pc:sldMk cId="1214255598" sldId="2827"/>
        </pc:sldMkLst>
        <pc:spChg chg="mod">
          <ac:chgData name="Cain, Caroline" userId="f5332823-2726-4128-ad93-a66ffa8f61df" providerId="ADAL" clId="{7ADE34FD-9F02-4CD9-B9DF-1F3A8AAE4844}" dt="2020-07-14T16:16:08.530" v="3675" actId="14100"/>
          <ac:spMkLst>
            <pc:docMk/>
            <pc:sldMk cId="1214255598" sldId="2827"/>
            <ac:spMk id="2" creationId="{00000000-0000-0000-0000-000000000000}"/>
          </ac:spMkLst>
        </pc:spChg>
        <pc:spChg chg="mod">
          <ac:chgData name="Cain, Caroline" userId="f5332823-2726-4128-ad93-a66ffa8f61df" providerId="ADAL" clId="{7ADE34FD-9F02-4CD9-B9DF-1F3A8AAE4844}" dt="2020-07-14T16:15:57.207" v="3674" actId="20577"/>
          <ac:spMkLst>
            <pc:docMk/>
            <pc:sldMk cId="1214255598" sldId="2827"/>
            <ac:spMk id="6" creationId="{00000000-0000-0000-0000-000000000000}"/>
          </ac:spMkLst>
        </pc:spChg>
      </pc:sldChg>
      <pc:sldChg chg="modSp add mod ord">
        <pc:chgData name="Cain, Caroline" userId="f5332823-2726-4128-ad93-a66ffa8f61df" providerId="ADAL" clId="{7ADE34FD-9F02-4CD9-B9DF-1F3A8AAE4844}" dt="2020-07-14T16:15:23.321" v="3672" actId="20577"/>
        <pc:sldMkLst>
          <pc:docMk/>
          <pc:sldMk cId="1853371871" sldId="2828"/>
        </pc:sldMkLst>
        <pc:spChg chg="mod">
          <ac:chgData name="Cain, Caroline" userId="f5332823-2726-4128-ad93-a66ffa8f61df" providerId="ADAL" clId="{7ADE34FD-9F02-4CD9-B9DF-1F3A8AAE4844}" dt="2020-07-14T16:15:23.321" v="3672" actId="20577"/>
          <ac:spMkLst>
            <pc:docMk/>
            <pc:sldMk cId="1853371871" sldId="2828"/>
            <ac:spMk id="4" creationId="{00000000-0000-0000-0000-000000000000}"/>
          </ac:spMkLst>
        </pc:spChg>
      </pc:sldChg>
      <pc:sldChg chg="modSp add mod ord">
        <pc:chgData name="Cain, Caroline" userId="f5332823-2726-4128-ad93-a66ffa8f61df" providerId="ADAL" clId="{7ADE34FD-9F02-4CD9-B9DF-1F3A8AAE4844}" dt="2020-07-14T16:22:08.290" v="3952" actId="20577"/>
        <pc:sldMkLst>
          <pc:docMk/>
          <pc:sldMk cId="2975654299" sldId="2829"/>
        </pc:sldMkLst>
        <pc:spChg chg="mod">
          <ac:chgData name="Cain, Caroline" userId="f5332823-2726-4128-ad93-a66ffa8f61df" providerId="ADAL" clId="{7ADE34FD-9F02-4CD9-B9DF-1F3A8AAE4844}" dt="2020-07-14T16:22:08.290" v="3952" actId="20577"/>
          <ac:spMkLst>
            <pc:docMk/>
            <pc:sldMk cId="2975654299" sldId="2829"/>
            <ac:spMk id="4" creationId="{00000000-0000-0000-0000-000000000000}"/>
          </ac:spMkLst>
        </pc:spChg>
      </pc:sldChg>
      <pc:sldChg chg="addSp modSp new mod">
        <pc:chgData name="Cain, Caroline" userId="f5332823-2726-4128-ad93-a66ffa8f61df" providerId="ADAL" clId="{7ADE34FD-9F02-4CD9-B9DF-1F3A8AAE4844}" dt="2020-07-14T16:42:31.898" v="4304" actId="1076"/>
        <pc:sldMkLst>
          <pc:docMk/>
          <pc:sldMk cId="2269722444" sldId="2830"/>
        </pc:sldMkLst>
        <pc:spChg chg="mod">
          <ac:chgData name="Cain, Caroline" userId="f5332823-2726-4128-ad93-a66ffa8f61df" providerId="ADAL" clId="{7ADE34FD-9F02-4CD9-B9DF-1F3A8AAE4844}" dt="2020-07-14T16:27:28.488" v="4151" actId="1076"/>
          <ac:spMkLst>
            <pc:docMk/>
            <pc:sldMk cId="2269722444" sldId="2830"/>
            <ac:spMk id="2" creationId="{A1491849-CE1E-43E2-950F-5B27AB36C250}"/>
          </ac:spMkLst>
        </pc:spChg>
        <pc:spChg chg="mod">
          <ac:chgData name="Cain, Caroline" userId="f5332823-2726-4128-ad93-a66ffa8f61df" providerId="ADAL" clId="{7ADE34FD-9F02-4CD9-B9DF-1F3A8AAE4844}" dt="2020-07-14T16:39:36.138" v="4294" actId="20577"/>
          <ac:spMkLst>
            <pc:docMk/>
            <pc:sldMk cId="2269722444" sldId="2830"/>
            <ac:spMk id="3" creationId="{815A6EFC-BC88-4A41-9644-F6BC0FBCA8BF}"/>
          </ac:spMkLst>
        </pc:spChg>
        <pc:picChg chg="add mod">
          <ac:chgData name="Cain, Caroline" userId="f5332823-2726-4128-ad93-a66ffa8f61df" providerId="ADAL" clId="{7ADE34FD-9F02-4CD9-B9DF-1F3A8AAE4844}" dt="2020-07-14T16:42:19.246" v="4302" actId="1076"/>
          <ac:picMkLst>
            <pc:docMk/>
            <pc:sldMk cId="2269722444" sldId="2830"/>
            <ac:picMk id="4" creationId="{C8FC1991-889D-47A0-BD25-50BD933E19FB}"/>
          </ac:picMkLst>
        </pc:picChg>
        <pc:picChg chg="add mod">
          <ac:chgData name="Cain, Caroline" userId="f5332823-2726-4128-ad93-a66ffa8f61df" providerId="ADAL" clId="{7ADE34FD-9F02-4CD9-B9DF-1F3A8AAE4844}" dt="2020-07-14T16:42:31.898" v="4304" actId="1076"/>
          <ac:picMkLst>
            <pc:docMk/>
            <pc:sldMk cId="2269722444" sldId="2830"/>
            <ac:picMk id="5" creationId="{F261ECC4-FDC8-4AF0-90BB-E2C3B0D07A5D}"/>
          </ac:picMkLst>
        </pc:picChg>
      </pc:sldChg>
      <pc:sldMasterChg chg="addSldLayout">
        <pc:chgData name="Cain, Caroline" userId="f5332823-2726-4128-ad93-a66ffa8f61df" providerId="ADAL" clId="{7ADE34FD-9F02-4CD9-B9DF-1F3A8AAE4844}" dt="2020-07-14T16:14:47.910" v="3637" actId="22"/>
        <pc:sldMasterMkLst>
          <pc:docMk/>
          <pc:sldMasterMk cId="2680884003" sldId="2147483648"/>
        </pc:sldMasterMkLst>
        <pc:sldLayoutChg chg="add">
          <pc:chgData name="Cain, Caroline" userId="f5332823-2726-4128-ad93-a66ffa8f61df" providerId="ADAL" clId="{7ADE34FD-9F02-4CD9-B9DF-1F3A8AAE4844}" dt="2020-07-14T16:14:47.910" v="3637" actId="22"/>
          <pc:sldLayoutMkLst>
            <pc:docMk/>
            <pc:sldMasterMk cId="2680884003" sldId="2147483648"/>
            <pc:sldLayoutMk cId="17797739" sldId="2147483663"/>
          </pc:sldLayoutMkLst>
        </pc:sldLayoutChg>
      </pc:sldMaster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6" y="3"/>
            <a:ext cx="3170583" cy="482027"/>
          </a:xfrm>
          <a:prstGeom prst="rect">
            <a:avLst/>
          </a:prstGeom>
        </p:spPr>
        <p:txBody>
          <a:bodyPr vert="horz" lIns="94827" tIns="47415" rIns="94827" bIns="47415" rtlCol="0"/>
          <a:lstStyle>
            <a:lvl1pPr algn="l">
              <a:defRPr sz="1300"/>
            </a:lvl1pPr>
          </a:lstStyle>
          <a:p>
            <a:endParaRPr lang="en-US" dirty="0"/>
          </a:p>
        </p:txBody>
      </p:sp>
      <p:sp>
        <p:nvSpPr>
          <p:cNvPr id="3" name="Date Placeholder 2"/>
          <p:cNvSpPr>
            <a:spLocks noGrp="1"/>
          </p:cNvSpPr>
          <p:nvPr>
            <p:ph type="dt" idx="1"/>
          </p:nvPr>
        </p:nvSpPr>
        <p:spPr>
          <a:xfrm>
            <a:off x="4142966" y="3"/>
            <a:ext cx="3170583" cy="482027"/>
          </a:xfrm>
          <a:prstGeom prst="rect">
            <a:avLst/>
          </a:prstGeom>
        </p:spPr>
        <p:txBody>
          <a:bodyPr vert="horz" lIns="94827" tIns="47415" rIns="94827" bIns="47415" rtlCol="0"/>
          <a:lstStyle>
            <a:lvl1pPr algn="r">
              <a:defRPr sz="1300"/>
            </a:lvl1pPr>
          </a:lstStyle>
          <a:p>
            <a:fld id="{2ABB3F04-64DD-49A0-BD7C-306FAAF86F8F}" type="datetimeFigureOut">
              <a:rPr lang="en-US" smtClean="0"/>
              <a:t>7/14/2020</a:t>
            </a:fld>
            <a:endParaRPr lang="en-US" dirty="0"/>
          </a:p>
        </p:txBody>
      </p:sp>
      <p:sp>
        <p:nvSpPr>
          <p:cNvPr id="4" name="Slide Image Placeholder 3"/>
          <p:cNvSpPr>
            <a:spLocks noGrp="1" noRot="1" noChangeAspect="1"/>
          </p:cNvSpPr>
          <p:nvPr>
            <p:ph type="sldImg" idx="2"/>
          </p:nvPr>
        </p:nvSpPr>
        <p:spPr>
          <a:xfrm>
            <a:off x="1498600" y="655638"/>
            <a:ext cx="4318000" cy="3238500"/>
          </a:xfrm>
          <a:prstGeom prst="rect">
            <a:avLst/>
          </a:prstGeom>
          <a:noFill/>
          <a:ln w="12700">
            <a:solidFill>
              <a:prstClr val="black"/>
            </a:solidFill>
          </a:ln>
        </p:spPr>
        <p:txBody>
          <a:bodyPr vert="horz" lIns="94827" tIns="47415" rIns="94827" bIns="47415" rtlCol="0" anchor="ctr"/>
          <a:lstStyle/>
          <a:p>
            <a:endParaRPr lang="en-US" dirty="0"/>
          </a:p>
        </p:txBody>
      </p:sp>
      <p:sp>
        <p:nvSpPr>
          <p:cNvPr id="5" name="Notes Placeholder 4"/>
          <p:cNvSpPr>
            <a:spLocks noGrp="1"/>
          </p:cNvSpPr>
          <p:nvPr>
            <p:ph type="body" sz="quarter" idx="3"/>
          </p:nvPr>
        </p:nvSpPr>
        <p:spPr>
          <a:xfrm>
            <a:off x="732187" y="4027469"/>
            <a:ext cx="5850835" cy="4941869"/>
          </a:xfrm>
          <a:prstGeom prst="rect">
            <a:avLst/>
          </a:prstGeom>
        </p:spPr>
        <p:txBody>
          <a:bodyPr vert="horz" lIns="94827" tIns="47415" rIns="94827" bIns="47415"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6" y="9065908"/>
            <a:ext cx="3170583" cy="482027"/>
          </a:xfrm>
          <a:prstGeom prst="rect">
            <a:avLst/>
          </a:prstGeom>
        </p:spPr>
        <p:txBody>
          <a:bodyPr vert="horz" lIns="94827" tIns="47415" rIns="94827" bIns="47415" rtlCol="0" anchor="b"/>
          <a:lstStyle>
            <a:lvl1pPr algn="l">
              <a:defRPr sz="1300"/>
            </a:lvl1pPr>
          </a:lstStyle>
          <a:p>
            <a:endParaRPr lang="en-US" dirty="0"/>
          </a:p>
        </p:txBody>
      </p:sp>
      <p:sp>
        <p:nvSpPr>
          <p:cNvPr id="7" name="Slide Number Placeholder 6"/>
          <p:cNvSpPr>
            <a:spLocks noGrp="1"/>
          </p:cNvSpPr>
          <p:nvPr>
            <p:ph type="sldNum" sz="quarter" idx="5"/>
          </p:nvPr>
        </p:nvSpPr>
        <p:spPr>
          <a:xfrm>
            <a:off x="3992045" y="8994884"/>
            <a:ext cx="3170583" cy="482027"/>
          </a:xfrm>
          <a:prstGeom prst="rect">
            <a:avLst/>
          </a:prstGeom>
        </p:spPr>
        <p:txBody>
          <a:bodyPr vert="horz" lIns="94827" tIns="47415" rIns="94827" bIns="47415" rtlCol="0" anchor="b"/>
          <a:lstStyle>
            <a:lvl1pPr algn="r">
              <a:defRPr sz="1300"/>
            </a:lvl1pPr>
          </a:lstStyle>
          <a:p>
            <a:fld id="{AA05FC04-006C-4370-AA2A-61F90C8564E7}" type="slidenum">
              <a:rPr lang="en-US" smtClean="0"/>
              <a:t>‹#›</a:t>
            </a:fld>
            <a:endParaRPr lang="en-US" dirty="0"/>
          </a:p>
        </p:txBody>
      </p:sp>
    </p:spTree>
    <p:extLst>
      <p:ext uri="{BB962C8B-B14F-4D97-AF65-F5344CB8AC3E}">
        <p14:creationId xmlns:p14="http://schemas.microsoft.com/office/powerpoint/2010/main" val="149437716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98600" y="635000"/>
            <a:ext cx="4318000" cy="3238500"/>
          </a:xfrm>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sz="1000" dirty="0"/>
          </a:p>
        </p:txBody>
      </p:sp>
      <p:sp>
        <p:nvSpPr>
          <p:cNvPr id="4" name="Slide Number Placeholder 3"/>
          <p:cNvSpPr>
            <a:spLocks noGrp="1"/>
          </p:cNvSpPr>
          <p:nvPr>
            <p:ph type="sldNum" sz="quarter" idx="10"/>
          </p:nvPr>
        </p:nvSpPr>
        <p:spPr>
          <a:xfrm>
            <a:off x="3938779" y="8923863"/>
            <a:ext cx="3170583" cy="482027"/>
          </a:xfrm>
        </p:spPr>
        <p:txBody>
          <a:bodyPr/>
          <a:lstStyle/>
          <a:p>
            <a:fld id="{AA05FC04-006C-4370-AA2A-61F90C8564E7}" type="slidenum">
              <a:rPr lang="en-US" smtClean="0"/>
              <a:t>1</a:t>
            </a:fld>
            <a:endParaRPr lang="en-US" dirty="0"/>
          </a:p>
        </p:txBody>
      </p:sp>
    </p:spTree>
    <p:extLst>
      <p:ext uri="{BB962C8B-B14F-4D97-AF65-F5344CB8AC3E}">
        <p14:creationId xmlns:p14="http://schemas.microsoft.com/office/powerpoint/2010/main" val="48576357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A05FC04-006C-4370-AA2A-61F90C8564E7}" type="slidenum">
              <a:rPr lang="en-US" smtClean="0"/>
              <a:t>2</a:t>
            </a:fld>
            <a:endParaRPr lang="en-US" dirty="0"/>
          </a:p>
        </p:txBody>
      </p:sp>
    </p:spTree>
    <p:extLst>
      <p:ext uri="{BB962C8B-B14F-4D97-AF65-F5344CB8AC3E}">
        <p14:creationId xmlns:p14="http://schemas.microsoft.com/office/powerpoint/2010/main" val="191763120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A05FC04-006C-4370-AA2A-61F90C8564E7}" type="slidenum">
              <a:rPr lang="en-US" smtClean="0"/>
              <a:t>3</a:t>
            </a:fld>
            <a:endParaRPr lang="en-US" dirty="0"/>
          </a:p>
        </p:txBody>
      </p:sp>
    </p:spTree>
    <p:extLst>
      <p:ext uri="{BB962C8B-B14F-4D97-AF65-F5344CB8AC3E}">
        <p14:creationId xmlns:p14="http://schemas.microsoft.com/office/powerpoint/2010/main" val="124271173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A05FC04-006C-4370-AA2A-61F90C8564E7}" type="slidenum">
              <a:rPr lang="en-US" smtClean="0"/>
              <a:t>5</a:t>
            </a:fld>
            <a:endParaRPr lang="en-US" dirty="0"/>
          </a:p>
        </p:txBody>
      </p:sp>
    </p:spTree>
    <p:extLst>
      <p:ext uri="{BB962C8B-B14F-4D97-AF65-F5344CB8AC3E}">
        <p14:creationId xmlns:p14="http://schemas.microsoft.com/office/powerpoint/2010/main" val="2205490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18D29C0-20EC-48BC-9A1D-941E0EFABFEC}" type="slidenum">
              <a:rPr lang="en-US" smtClean="0"/>
              <a:t>39</a:t>
            </a:fld>
            <a:endParaRPr lang="en-US" dirty="0"/>
          </a:p>
        </p:txBody>
      </p:sp>
    </p:spTree>
    <p:extLst>
      <p:ext uri="{BB962C8B-B14F-4D97-AF65-F5344CB8AC3E}">
        <p14:creationId xmlns:p14="http://schemas.microsoft.com/office/powerpoint/2010/main" val="57307713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18D29C0-20EC-48BC-9A1D-941E0EFABFEC}" type="slidenum">
              <a:rPr lang="en-US" smtClean="0"/>
              <a:t>40</a:t>
            </a:fld>
            <a:endParaRPr lang="en-US" dirty="0"/>
          </a:p>
        </p:txBody>
      </p:sp>
    </p:spTree>
    <p:extLst>
      <p:ext uri="{BB962C8B-B14F-4D97-AF65-F5344CB8AC3E}">
        <p14:creationId xmlns:p14="http://schemas.microsoft.com/office/powerpoint/2010/main" val="1778414867"/>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5.xml"/><Relationship Id="rId7" Type="http://schemas.openxmlformats.org/officeDocument/2006/relationships/image" Target="../media/image3.emf"/><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image" Target="../media/image4.png"/><Relationship Id="rId4" Type="http://schemas.openxmlformats.org/officeDocument/2006/relationships/slideMaster" Target="../slideMasters/slideMaster1.xml"/><Relationship Id="rId9" Type="http://schemas.openxmlformats.org/officeDocument/2006/relationships/image" Target="../media/image6.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4" name="Rectangle 13"/>
          <p:cNvSpPr/>
          <p:nvPr userDrawn="1"/>
        </p:nvSpPr>
        <p:spPr>
          <a:xfrm>
            <a:off x="0" y="1"/>
            <a:ext cx="9144000" cy="5156790"/>
          </a:xfrm>
          <a:prstGeom prst="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pic>
        <p:nvPicPr>
          <p:cNvPr id="16" name="Picture 15">
            <a:extLst>
              <a:ext uri="{FF2B5EF4-FFF2-40B4-BE49-F238E27FC236}">
                <a16:creationId xmlns:a16="http://schemas.microsoft.com/office/drawing/2014/main" id="{C82F77A1-D7E1-47DD-9603-12F9BA2A1FB9}"/>
              </a:ext>
            </a:extLst>
          </p:cNvPr>
          <p:cNvPicPr>
            <a:picLocks noChangeAspect="1"/>
          </p:cNvPicPr>
          <p:nvPr userDrawn="1"/>
        </p:nvPicPr>
        <p:blipFill rotWithShape="1">
          <a:blip r:embed="rId5" cstate="print">
            <a:alphaModFix amt="36000"/>
            <a:extLst>
              <a:ext uri="{28A0092B-C50C-407E-A947-70E740481C1C}">
                <a14:useLocalDpi xmlns:a14="http://schemas.microsoft.com/office/drawing/2010/main" val="0"/>
              </a:ext>
            </a:extLst>
          </a:blip>
          <a:srcRect l="-5440" t="-10534" r="-23126" b="4"/>
          <a:stretch/>
        </p:blipFill>
        <p:spPr>
          <a:xfrm>
            <a:off x="271016" y="-372248"/>
            <a:ext cx="8754367" cy="7526296"/>
          </a:xfrm>
          <a:prstGeom prst="rect">
            <a:avLst/>
          </a:prstGeom>
        </p:spPr>
      </p:pic>
      <p:graphicFrame>
        <p:nvGraphicFramePr>
          <p:cNvPr id="9" name="Object 8" hidden="1">
            <a:extLst>
              <a:ext uri="{FF2B5EF4-FFF2-40B4-BE49-F238E27FC236}">
                <a16:creationId xmlns:a16="http://schemas.microsoft.com/office/drawing/2014/main" id="{74AFCF93-F657-4B86-AF22-65B0BC4CCAC8}"/>
              </a:ext>
            </a:extLst>
          </p:cNvPr>
          <p:cNvGraphicFramePr>
            <a:graphicFrameLocks noChangeAspect="1"/>
          </p:cNvGraphicFramePr>
          <p:nvPr userDrawn="1">
            <p:custDataLst>
              <p:tags r:id="rId2"/>
            </p:custDataLst>
            <p:extLst>
              <p:ext uri="{D42A27DB-BD31-4B8C-83A1-F6EECF244321}">
                <p14:modId xmlns:p14="http://schemas.microsoft.com/office/powerpoint/2010/main" val="473403509"/>
              </p:ext>
            </p:extLst>
          </p:nvPr>
        </p:nvGraphicFramePr>
        <p:xfrm>
          <a:off x="1193" y="1588"/>
          <a:ext cx="1191" cy="1588"/>
        </p:xfrm>
        <a:graphic>
          <a:graphicData uri="http://schemas.openxmlformats.org/presentationml/2006/ole">
            <mc:AlternateContent xmlns:mc="http://schemas.openxmlformats.org/markup-compatibility/2006">
              <mc:Choice xmlns:v="urn:schemas-microsoft-com:vml" Requires="v">
                <p:oleObj spid="_x0000_s2050" name="think-cell Slide" r:id="rId6" imgW="424" imgH="424" progId="TCLayout.ActiveDocument.1">
                  <p:embed/>
                </p:oleObj>
              </mc:Choice>
              <mc:Fallback>
                <p:oleObj name="think-cell Slide" r:id="rId6" imgW="424" imgH="424" progId="TCLayout.ActiveDocument.1">
                  <p:embed/>
                  <p:pic>
                    <p:nvPicPr>
                      <p:cNvPr id="9" name="Object 8" hidden="1">
                        <a:extLst>
                          <a:ext uri="{FF2B5EF4-FFF2-40B4-BE49-F238E27FC236}">
                            <a16:creationId xmlns:a16="http://schemas.microsoft.com/office/drawing/2014/main" id="{74AFCF93-F657-4B86-AF22-65B0BC4CCAC8}"/>
                          </a:ext>
                        </a:extLst>
                      </p:cNvPr>
                      <p:cNvPicPr/>
                      <p:nvPr/>
                    </p:nvPicPr>
                    <p:blipFill>
                      <a:blip r:embed="rId7"/>
                      <a:stretch>
                        <a:fillRect/>
                      </a:stretch>
                    </p:blipFill>
                    <p:spPr>
                      <a:xfrm>
                        <a:off x="1193" y="1588"/>
                        <a:ext cx="1191"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27C78A8F-C7D7-4FCD-ABDF-9F33A29FBAE3}"/>
              </a:ext>
            </a:extLst>
          </p:cNvPr>
          <p:cNvSpPr/>
          <p:nvPr userDrawn="1">
            <p:custDataLst>
              <p:tags r:id="rId3"/>
            </p:custDataLst>
          </p:nvPr>
        </p:nvSpPr>
        <p:spPr>
          <a:xfrm>
            <a:off x="2" y="0"/>
            <a:ext cx="119063"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4500" b="0" i="0" baseline="0" dirty="0">
              <a:latin typeface="Calibri Light" panose="020F0302020204030204" pitchFamily="34" charset="0"/>
              <a:ea typeface="+mj-ea"/>
              <a:cs typeface="+mj-cs"/>
              <a:sym typeface="Calibri Light" panose="020F0302020204030204" pitchFamily="34" charset="0"/>
            </a:endParaRPr>
          </a:p>
        </p:txBody>
      </p:sp>
      <p:sp>
        <p:nvSpPr>
          <p:cNvPr id="15" name="Rectangle 14">
            <a:extLst>
              <a:ext uri="{FF2B5EF4-FFF2-40B4-BE49-F238E27FC236}">
                <a16:creationId xmlns:a16="http://schemas.microsoft.com/office/drawing/2014/main" id="{7C144544-FD6A-41A3-8107-87D7CD7D6C80}"/>
              </a:ext>
            </a:extLst>
          </p:cNvPr>
          <p:cNvSpPr/>
          <p:nvPr userDrawn="1"/>
        </p:nvSpPr>
        <p:spPr>
          <a:xfrm>
            <a:off x="0" y="6553200"/>
            <a:ext cx="9144000" cy="3048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1" name="Parallelogram 20"/>
          <p:cNvSpPr/>
          <p:nvPr userDrawn="1"/>
        </p:nvSpPr>
        <p:spPr>
          <a:xfrm rot="5400000" flipH="1">
            <a:off x="2089150" y="1431113"/>
            <a:ext cx="4965700" cy="9144000"/>
          </a:xfrm>
          <a:prstGeom prst="parallelogram">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ctrTitle"/>
          </p:nvPr>
        </p:nvSpPr>
        <p:spPr>
          <a:xfrm>
            <a:off x="4094480" y="566828"/>
            <a:ext cx="4572000" cy="1457551"/>
          </a:xfrm>
        </p:spPr>
        <p:txBody>
          <a:bodyPr anchor="t"/>
          <a:lstStyle>
            <a:lvl1pPr algn="r">
              <a:defRPr sz="2100" b="1">
                <a:solidFill>
                  <a:schemeClr val="bg1"/>
                </a:solidFill>
              </a:defRPr>
            </a:lvl1pPr>
          </a:lstStyle>
          <a:p>
            <a:r>
              <a:rPr lang="en-US" dirty="0"/>
              <a:t>Click to edit Master title style</a:t>
            </a:r>
          </a:p>
        </p:txBody>
      </p:sp>
      <p:grpSp>
        <p:nvGrpSpPr>
          <p:cNvPr id="22" name="Group 21"/>
          <p:cNvGrpSpPr/>
          <p:nvPr userDrawn="1"/>
        </p:nvGrpSpPr>
        <p:grpSpPr>
          <a:xfrm>
            <a:off x="5930663" y="5365432"/>
            <a:ext cx="3496050" cy="1708468"/>
            <a:chOff x="7585073" y="4907150"/>
            <a:chExt cx="3917814" cy="1914578"/>
          </a:xfrm>
        </p:grpSpPr>
        <p:pic>
          <p:nvPicPr>
            <p:cNvPr id="23" name="Picture 22"/>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943438" y="4907150"/>
              <a:ext cx="1201084" cy="574878"/>
            </a:xfrm>
            <a:prstGeom prst="rect">
              <a:avLst/>
            </a:prstGeom>
          </p:spPr>
        </p:pic>
        <p:sp>
          <p:nvSpPr>
            <p:cNvPr id="24" name="Subtitle 2"/>
            <p:cNvSpPr txBox="1">
              <a:spLocks/>
            </p:cNvSpPr>
            <p:nvPr/>
          </p:nvSpPr>
          <p:spPr>
            <a:xfrm>
              <a:off x="7585073" y="5749131"/>
              <a:ext cx="3917814" cy="1072597"/>
            </a:xfrm>
            <a:prstGeom prst="rect">
              <a:avLst/>
            </a:prstGeom>
          </p:spPr>
          <p:txBody>
            <a:bodyPr vert="horz" lIns="68580" tIns="34290" rIns="68580" bIns="34290" rtlCol="0">
              <a:normAutofit/>
            </a:bodyPr>
            <a:lstStyle>
              <a:lvl1pPr marL="0" indent="0" algn="ctr" defTabSz="914377"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189" indent="0" algn="ctr" defTabSz="914377"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377" indent="0" algn="ctr" defTabSz="914377"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566" indent="0" algn="ctr" defTabSz="914377"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754" indent="0" algn="ctr" defTabSz="914377"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5943" indent="0" algn="ctr" defTabSz="914377"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131" indent="0" algn="ctr" defTabSz="914377"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320" indent="0" algn="ctr" defTabSz="914377"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509" indent="0" algn="ctr" defTabSz="914377"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US" sz="1400" dirty="0">
                  <a:solidFill>
                    <a:schemeClr val="accent5">
                      <a:lumMod val="50000"/>
                    </a:schemeClr>
                  </a:solidFill>
                </a:rPr>
                <a:t>RPM International Inc.</a:t>
              </a:r>
            </a:p>
          </p:txBody>
        </p:sp>
      </p:grpSp>
      <p:pic>
        <p:nvPicPr>
          <p:cNvPr id="17" name="Picture 16"/>
          <p:cNvPicPr>
            <a:picLocks noChangeAspect="1"/>
          </p:cNvPicPr>
          <p:nvPr userDrawn="1"/>
        </p:nvPicPr>
        <p:blipFill rotWithShape="1">
          <a:blip r:embed="rId9">
            <a:extLst>
              <a:ext uri="{28A0092B-C50C-407E-A947-70E740481C1C}">
                <a14:useLocalDpi xmlns:a14="http://schemas.microsoft.com/office/drawing/2010/main" val="0"/>
              </a:ext>
            </a:extLst>
          </a:blip>
          <a:srcRect l="9816" t="1697" b="16152"/>
          <a:stretch/>
        </p:blipFill>
        <p:spPr>
          <a:xfrm>
            <a:off x="0" y="0"/>
            <a:ext cx="5943600" cy="6858000"/>
          </a:xfrm>
          <a:prstGeom prst="rect">
            <a:avLst/>
          </a:prstGeom>
        </p:spPr>
      </p:pic>
    </p:spTree>
    <p:extLst>
      <p:ext uri="{BB962C8B-B14F-4D97-AF65-F5344CB8AC3E}">
        <p14:creationId xmlns:p14="http://schemas.microsoft.com/office/powerpoint/2010/main" val="3832464026"/>
      </p:ext>
    </p:extLst>
  </p:cSld>
  <p:clrMapOvr>
    <a:masterClrMapping/>
  </p:clrMapOvr>
  <p:transition spd="med">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000"/>
            </a:lvl1pPr>
          </a:lstStyle>
          <a:p>
            <a:r>
              <a:rPr lang="en-US" dirty="0"/>
              <a:t>Click to edit Master title style</a:t>
            </a:r>
          </a:p>
        </p:txBody>
      </p:sp>
      <p:sp>
        <p:nvSpPr>
          <p:cNvPr id="3" name="Vertical Text Placeholder 2"/>
          <p:cNvSpPr>
            <a:spLocks noGrp="1"/>
          </p:cNvSpPr>
          <p:nvPr>
            <p:ph type="body" orient="vert" idx="1"/>
          </p:nvPr>
        </p:nvSpPr>
        <p:spPr/>
        <p:txBody>
          <a:bodyPr vert="eaVert"/>
          <a:lstStyle>
            <a:lvl1pPr>
              <a:defRPr sz="1800"/>
            </a:lvl1pPr>
            <a:lvl2pPr>
              <a:defRPr sz="1600"/>
            </a:lvl2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06092807"/>
      </p:ext>
    </p:extLst>
  </p:cSld>
  <p:clrMapOvr>
    <a:masterClrMapping/>
  </p:clrMapOvr>
  <p:transition spd="med">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6" y="1288473"/>
            <a:ext cx="1971675" cy="4888490"/>
          </a:xfrm>
        </p:spPr>
        <p:txBody>
          <a:bodyPr vert="eaVert"/>
          <a:lstStyle>
            <a:lvl1pPr>
              <a:defRPr>
                <a:solidFill>
                  <a:schemeClr val="tx1"/>
                </a:solidFill>
              </a:defRPr>
            </a:lvl1pPr>
          </a:lstStyle>
          <a:p>
            <a:r>
              <a:rPr lang="en-US" dirty="0"/>
              <a:t>Click to edit Master title style</a:t>
            </a:r>
          </a:p>
        </p:txBody>
      </p:sp>
      <p:sp>
        <p:nvSpPr>
          <p:cNvPr id="3" name="Vertical Text Placeholder 2"/>
          <p:cNvSpPr>
            <a:spLocks noGrp="1"/>
          </p:cNvSpPr>
          <p:nvPr>
            <p:ph type="body" orient="vert" idx="1"/>
          </p:nvPr>
        </p:nvSpPr>
        <p:spPr>
          <a:xfrm>
            <a:off x="628652" y="1288473"/>
            <a:ext cx="5800725" cy="4888490"/>
          </a:xfrm>
        </p:spPr>
        <p:txBody>
          <a:bodyPr vert="eaVert"/>
          <a:lstStyle>
            <a:lvl1pPr>
              <a:defRPr sz="1800">
                <a:solidFill>
                  <a:schemeClr val="tx1"/>
                </a:solidFill>
              </a:defRPr>
            </a:lvl1pPr>
            <a:lvl2pPr>
              <a:defRPr sz="1600">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721098425"/>
      </p:ext>
    </p:extLst>
  </p:cSld>
  <p:clrMapOvr>
    <a:masterClrMapping/>
  </p:clrMapOvr>
  <p:transition spd="med">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6D9C2DC-7DD7-4CCC-9988-35B863DFA90C}"/>
              </a:ext>
            </a:extLst>
          </p:cNvPr>
          <p:cNvGraphicFramePr>
            <a:graphicFrameLocks noChangeAspect="1"/>
          </p:cNvGraphicFramePr>
          <p:nvPr userDrawn="1">
            <p:custDataLst>
              <p:tags r:id="rId2"/>
            </p:custDataLst>
            <p:extLst>
              <p:ext uri="{D42A27DB-BD31-4B8C-83A1-F6EECF244321}">
                <p14:modId xmlns:p14="http://schemas.microsoft.com/office/powerpoint/2010/main" val="2054498141"/>
              </p:ex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spid="_x0000_s4098" name="think-cell Slide" r:id="rId4" imgW="216" imgH="216" progId="TCLayout.ActiveDocument.1">
                  <p:embed/>
                </p:oleObj>
              </mc:Choice>
              <mc:Fallback>
                <p:oleObj name="think-cell Slide" r:id="rId4" imgW="216" imgH="216" progId="TCLayout.ActiveDocument.1">
                  <p:embed/>
                  <p:pic>
                    <p:nvPicPr>
                      <p:cNvPr id="4" name="Object 3" hidden="1">
                        <a:extLst>
                          <a:ext uri="{FF2B5EF4-FFF2-40B4-BE49-F238E27FC236}">
                            <a16:creationId xmlns:a16="http://schemas.microsoft.com/office/drawing/2014/main" id="{06D9C2DC-7DD7-4CCC-9988-35B863DFA90C}"/>
                          </a:ext>
                        </a:extLst>
                      </p:cNvPr>
                      <p:cNvPicPr/>
                      <p:nvPr/>
                    </p:nvPicPr>
                    <p:blipFill>
                      <a:blip r:embed="rId5"/>
                      <a:stretch>
                        <a:fillRect/>
                      </a:stretch>
                    </p:blipFill>
                    <p:spPr>
                      <a:xfrm>
                        <a:off x="1192" y="1589"/>
                        <a:ext cx="1190" cy="1587"/>
                      </a:xfrm>
                      <a:prstGeom prst="rect">
                        <a:avLst/>
                      </a:prstGeom>
                    </p:spPr>
                  </p:pic>
                </p:oleObj>
              </mc:Fallback>
            </mc:AlternateContent>
          </a:graphicData>
        </a:graphic>
      </p:graphicFrame>
      <p:sp>
        <p:nvSpPr>
          <p:cNvPr id="6" name="Title Placeholder 1"/>
          <p:cNvSpPr>
            <a:spLocks noGrp="1"/>
          </p:cNvSpPr>
          <p:nvPr>
            <p:ph type="title"/>
          </p:nvPr>
        </p:nvSpPr>
        <p:spPr>
          <a:xfrm>
            <a:off x="419100" y="345440"/>
            <a:ext cx="8096250" cy="1213196"/>
          </a:xfrm>
          <a:prstGeom prst="rect">
            <a:avLst/>
          </a:prstGeom>
        </p:spPr>
        <p:txBody>
          <a:bodyPr vert="horz" lIns="91440" tIns="45720" rIns="91440" bIns="45720" rtlCol="0" anchor="t">
            <a:noAutofit/>
          </a:bodyPr>
          <a:lstStyle>
            <a:lvl1pPr>
              <a:defRPr sz="2250"/>
            </a:lvl1pPr>
          </a:lstStyle>
          <a:p>
            <a:r>
              <a:rPr lang="en-US"/>
              <a:t>Click to edit Master title style</a:t>
            </a:r>
            <a:endParaRPr lang="en-US" dirty="0"/>
          </a:p>
        </p:txBody>
      </p:sp>
      <p:sp>
        <p:nvSpPr>
          <p:cNvPr id="7" name="Text Placeholder 2"/>
          <p:cNvSpPr>
            <a:spLocks noGrp="1"/>
          </p:cNvSpPr>
          <p:nvPr>
            <p:ph idx="1"/>
          </p:nvPr>
        </p:nvSpPr>
        <p:spPr>
          <a:xfrm>
            <a:off x="709180" y="1839191"/>
            <a:ext cx="7806170" cy="4337774"/>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Date Placeholder 3"/>
          <p:cNvSpPr>
            <a:spLocks noGrp="1"/>
          </p:cNvSpPr>
          <p:nvPr>
            <p:ph type="dt" sz="half" idx="2"/>
          </p:nvPr>
        </p:nvSpPr>
        <p:spPr>
          <a:xfrm>
            <a:off x="8083629" y="6481550"/>
            <a:ext cx="554285" cy="259492"/>
          </a:xfrm>
          <a:prstGeom prst="rect">
            <a:avLst/>
          </a:prstGeom>
        </p:spPr>
        <p:txBody>
          <a:bodyPr vert="horz" lIns="91440" tIns="45720" rIns="91440" bIns="45720" rtlCol="0" anchor="ctr"/>
          <a:lstStyle>
            <a:lvl1pPr algn="ctr">
              <a:defRPr sz="825">
                <a:solidFill>
                  <a:schemeClr val="bg2">
                    <a:lumMod val="90000"/>
                  </a:schemeClr>
                </a:solidFill>
              </a:defRPr>
            </a:lvl1pPr>
          </a:lstStyle>
          <a:p>
            <a:r>
              <a:rPr lang="en-US"/>
              <a:t>00/00/18</a:t>
            </a:r>
            <a:endParaRPr lang="en-US" dirty="0"/>
          </a:p>
        </p:txBody>
      </p:sp>
      <p:sp>
        <p:nvSpPr>
          <p:cNvPr id="11" name="Footer Placeholder 4"/>
          <p:cNvSpPr>
            <a:spLocks noGrp="1"/>
          </p:cNvSpPr>
          <p:nvPr>
            <p:ph type="ftr" sz="quarter" idx="3"/>
          </p:nvPr>
        </p:nvSpPr>
        <p:spPr>
          <a:xfrm>
            <a:off x="5724587" y="6481550"/>
            <a:ext cx="2314575" cy="259492"/>
          </a:xfrm>
          <a:prstGeom prst="rect">
            <a:avLst/>
          </a:prstGeom>
        </p:spPr>
        <p:txBody>
          <a:bodyPr vert="horz" lIns="91440" tIns="45720" rIns="91440" bIns="45720" rtlCol="0" anchor="ctr"/>
          <a:lstStyle>
            <a:lvl1pPr algn="r">
              <a:defRPr sz="825">
                <a:solidFill>
                  <a:schemeClr val="bg2">
                    <a:lumMod val="90000"/>
                  </a:schemeClr>
                </a:solidFill>
              </a:defRPr>
            </a:lvl1pPr>
          </a:lstStyle>
          <a:p>
            <a:r>
              <a:rPr lang="en-US" dirty="0"/>
              <a:t>RPM International Inc.</a:t>
            </a:r>
          </a:p>
        </p:txBody>
      </p:sp>
    </p:spTree>
    <p:extLst>
      <p:ext uri="{BB962C8B-B14F-4D97-AF65-F5344CB8AC3E}">
        <p14:creationId xmlns:p14="http://schemas.microsoft.com/office/powerpoint/2010/main" val="238290007"/>
      </p:ext>
    </p:extLst>
  </p:cSld>
  <p:clrMapOvr>
    <a:masterClrMapping/>
  </p:clrMapOvr>
  <mc:AlternateContent xmlns:mc="http://schemas.openxmlformats.org/markup-compatibility/2006" xmlns:p14="http://schemas.microsoft.com/office/powerpoint/2010/main">
    <mc:Choice Requires="p14">
      <p:transition spd="med" p14:dur="700" advClick="0" advTm="0">
        <p:fade/>
      </p:transition>
    </mc:Choice>
    <mc:Fallback xmlns="">
      <p:transition spd="med" advClick="0" advTm="0">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6D9C2DC-7DD7-4CCC-9988-35B863DFA90C}"/>
              </a:ext>
            </a:extLst>
          </p:cNvPr>
          <p:cNvGraphicFramePr>
            <a:graphicFrameLocks noChangeAspect="1"/>
          </p:cNvGraphicFramePr>
          <p:nvPr userDrawn="1">
            <p:custDataLst>
              <p:tags r:id="rId2"/>
            </p:custDataLst>
            <p:extLst>
              <p:ext uri="{D42A27DB-BD31-4B8C-83A1-F6EECF244321}">
                <p14:modId xmlns:p14="http://schemas.microsoft.com/office/powerpoint/2010/main" val="1125594309"/>
              </p:ex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spid="_x0000_s5122" name="think-cell Slide" r:id="rId4" imgW="216" imgH="216" progId="TCLayout.ActiveDocument.1">
                  <p:embed/>
                </p:oleObj>
              </mc:Choice>
              <mc:Fallback>
                <p:oleObj name="think-cell Slide" r:id="rId4" imgW="216" imgH="216" progId="TCLayout.ActiveDocument.1">
                  <p:embed/>
                  <p:pic>
                    <p:nvPicPr>
                      <p:cNvPr id="4" name="Object 3" hidden="1">
                        <a:extLst>
                          <a:ext uri="{FF2B5EF4-FFF2-40B4-BE49-F238E27FC236}">
                            <a16:creationId xmlns:a16="http://schemas.microsoft.com/office/drawing/2014/main" id="{06D9C2DC-7DD7-4CCC-9988-35B863DFA90C}"/>
                          </a:ext>
                        </a:extLst>
                      </p:cNvPr>
                      <p:cNvPicPr/>
                      <p:nvPr/>
                    </p:nvPicPr>
                    <p:blipFill>
                      <a:blip r:embed="rId5"/>
                      <a:stretch>
                        <a:fillRect/>
                      </a:stretch>
                    </p:blipFill>
                    <p:spPr>
                      <a:xfrm>
                        <a:off x="1192" y="1589"/>
                        <a:ext cx="1190" cy="1587"/>
                      </a:xfrm>
                      <a:prstGeom prst="rect">
                        <a:avLst/>
                      </a:prstGeom>
                    </p:spPr>
                  </p:pic>
                </p:oleObj>
              </mc:Fallback>
            </mc:AlternateContent>
          </a:graphicData>
        </a:graphic>
      </p:graphicFrame>
      <p:sp>
        <p:nvSpPr>
          <p:cNvPr id="6" name="Title Placeholder 1"/>
          <p:cNvSpPr>
            <a:spLocks noGrp="1"/>
          </p:cNvSpPr>
          <p:nvPr>
            <p:ph type="title"/>
          </p:nvPr>
        </p:nvSpPr>
        <p:spPr>
          <a:xfrm>
            <a:off x="419100" y="345440"/>
            <a:ext cx="8096250" cy="1213196"/>
          </a:xfrm>
          <a:prstGeom prst="rect">
            <a:avLst/>
          </a:prstGeom>
        </p:spPr>
        <p:txBody>
          <a:bodyPr vert="horz" lIns="91440" tIns="45720" rIns="91440" bIns="45720" rtlCol="0" anchor="t">
            <a:noAutofit/>
          </a:bodyPr>
          <a:lstStyle>
            <a:lvl1pPr>
              <a:defRPr sz="2250"/>
            </a:lvl1pPr>
          </a:lstStyle>
          <a:p>
            <a:r>
              <a:rPr lang="en-US"/>
              <a:t>Click to edit Master title style</a:t>
            </a:r>
            <a:endParaRPr lang="en-US" dirty="0"/>
          </a:p>
        </p:txBody>
      </p:sp>
      <p:sp>
        <p:nvSpPr>
          <p:cNvPr id="7" name="Text Placeholder 2"/>
          <p:cNvSpPr>
            <a:spLocks noGrp="1"/>
          </p:cNvSpPr>
          <p:nvPr>
            <p:ph idx="1"/>
          </p:nvPr>
        </p:nvSpPr>
        <p:spPr>
          <a:xfrm>
            <a:off x="709180" y="1839191"/>
            <a:ext cx="7806170" cy="4337774"/>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Date Placeholder 3"/>
          <p:cNvSpPr>
            <a:spLocks noGrp="1"/>
          </p:cNvSpPr>
          <p:nvPr>
            <p:ph type="dt" sz="half" idx="2"/>
          </p:nvPr>
        </p:nvSpPr>
        <p:spPr>
          <a:xfrm>
            <a:off x="8083629" y="6481550"/>
            <a:ext cx="554285" cy="259492"/>
          </a:xfrm>
          <a:prstGeom prst="rect">
            <a:avLst/>
          </a:prstGeom>
        </p:spPr>
        <p:txBody>
          <a:bodyPr vert="horz" lIns="91440" tIns="45720" rIns="91440" bIns="45720" rtlCol="0" anchor="ctr"/>
          <a:lstStyle>
            <a:lvl1pPr algn="ctr">
              <a:defRPr sz="825">
                <a:solidFill>
                  <a:schemeClr val="bg2">
                    <a:lumMod val="90000"/>
                  </a:schemeClr>
                </a:solidFill>
              </a:defRPr>
            </a:lvl1pPr>
          </a:lstStyle>
          <a:p>
            <a:r>
              <a:rPr lang="en-US"/>
              <a:t>00/00/18</a:t>
            </a:r>
            <a:endParaRPr lang="en-US" dirty="0"/>
          </a:p>
        </p:txBody>
      </p:sp>
      <p:sp>
        <p:nvSpPr>
          <p:cNvPr id="11" name="Footer Placeholder 4"/>
          <p:cNvSpPr>
            <a:spLocks noGrp="1"/>
          </p:cNvSpPr>
          <p:nvPr>
            <p:ph type="ftr" sz="quarter" idx="3"/>
          </p:nvPr>
        </p:nvSpPr>
        <p:spPr>
          <a:xfrm>
            <a:off x="5724587" y="6481550"/>
            <a:ext cx="2314575" cy="259492"/>
          </a:xfrm>
          <a:prstGeom prst="rect">
            <a:avLst/>
          </a:prstGeom>
        </p:spPr>
        <p:txBody>
          <a:bodyPr vert="horz" lIns="91440" tIns="45720" rIns="91440" bIns="45720" rtlCol="0" anchor="ctr"/>
          <a:lstStyle>
            <a:lvl1pPr algn="r">
              <a:defRPr sz="825">
                <a:solidFill>
                  <a:schemeClr val="bg2">
                    <a:lumMod val="90000"/>
                  </a:schemeClr>
                </a:solidFill>
              </a:defRPr>
            </a:lvl1pPr>
          </a:lstStyle>
          <a:p>
            <a:r>
              <a:rPr lang="en-US" dirty="0"/>
              <a:t>RPM International Inc.</a:t>
            </a:r>
          </a:p>
        </p:txBody>
      </p:sp>
    </p:spTree>
    <p:extLst>
      <p:ext uri="{BB962C8B-B14F-4D97-AF65-F5344CB8AC3E}">
        <p14:creationId xmlns:p14="http://schemas.microsoft.com/office/powerpoint/2010/main" val="3598267946"/>
      </p:ext>
    </p:extLst>
  </p:cSld>
  <p:clrMapOvr>
    <a:masterClrMapping/>
  </p:clrMapOvr>
  <mc:AlternateContent xmlns:mc="http://schemas.openxmlformats.org/markup-compatibility/2006" xmlns:p14="http://schemas.microsoft.com/office/powerpoint/2010/main">
    <mc:Choice Requires="p14">
      <p:transition spd="med" p14:dur="700" advClick="0" advTm="0">
        <p:fade/>
      </p:transition>
    </mc:Choice>
    <mc:Fallback xmlns="">
      <p:transition spd="med" advClick="0" advTm="0">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Standard Page_SB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sz="1800"/>
            </a:lvl1pPr>
          </a:lstStyle>
          <a:p>
            <a:r>
              <a:rPr lang="en-US" dirty="0"/>
              <a:t>Page Title</a:t>
            </a:r>
          </a:p>
        </p:txBody>
      </p:sp>
      <p:sp>
        <p:nvSpPr>
          <p:cNvPr id="7" name="Content Placeholder 6"/>
          <p:cNvSpPr>
            <a:spLocks noGrp="1"/>
          </p:cNvSpPr>
          <p:nvPr>
            <p:ph sz="quarter" idx="10" hasCustomPrompt="1"/>
          </p:nvPr>
        </p:nvSpPr>
        <p:spPr>
          <a:xfrm>
            <a:off x="457201" y="1527048"/>
            <a:ext cx="4010024" cy="1231106"/>
          </a:xfrm>
          <a:prstGeom prst="rect">
            <a:avLst/>
          </a:prstGeom>
        </p:spPr>
        <p:txBody>
          <a:bodyPr lIns="0" tIns="0" rIns="0" bIns="0"/>
          <a:lstStyle>
            <a:lvl1pPr>
              <a:defRPr sz="900"/>
            </a:lvl1pPr>
          </a:lstStyle>
          <a:p>
            <a:pPr lvl="0"/>
            <a:r>
              <a:rPr lang="en-US" dirty="0"/>
              <a:t>Click to edit text.</a:t>
            </a:r>
          </a:p>
        </p:txBody>
      </p:sp>
      <p:sp>
        <p:nvSpPr>
          <p:cNvPr id="4" name="Text Placeholder 3">
            <a:extLst>
              <a:ext uri="{FF2B5EF4-FFF2-40B4-BE49-F238E27FC236}">
                <a16:creationId xmlns:a16="http://schemas.microsoft.com/office/drawing/2014/main" id="{716650B1-1095-5A46-896C-45E569F94BAC}"/>
              </a:ext>
            </a:extLst>
          </p:cNvPr>
          <p:cNvSpPr>
            <a:spLocks noGrp="1"/>
          </p:cNvSpPr>
          <p:nvPr>
            <p:ph type="body" sz="quarter" idx="11" hasCustomPrompt="1"/>
          </p:nvPr>
        </p:nvSpPr>
        <p:spPr>
          <a:xfrm>
            <a:off x="457200" y="914401"/>
            <a:ext cx="4023360" cy="182880"/>
          </a:xfrm>
          <a:prstGeom prst="rect">
            <a:avLst/>
          </a:prstGeom>
        </p:spPr>
        <p:txBody>
          <a:bodyPr lIns="0" tIns="0" rIns="0" bIns="0"/>
          <a:lstStyle>
            <a:lvl1pPr>
              <a:defRPr sz="1050"/>
            </a:lvl1pPr>
          </a:lstStyle>
          <a:p>
            <a:pPr lvl="0"/>
            <a:r>
              <a:rPr lang="en-US" dirty="0"/>
              <a:t>Figure Title Arial 14</a:t>
            </a:r>
          </a:p>
        </p:txBody>
      </p:sp>
      <p:sp>
        <p:nvSpPr>
          <p:cNvPr id="6" name="Text Placeholder 5">
            <a:extLst>
              <a:ext uri="{FF2B5EF4-FFF2-40B4-BE49-F238E27FC236}">
                <a16:creationId xmlns:a16="http://schemas.microsoft.com/office/drawing/2014/main" id="{B47FD8CA-D75A-6447-A179-C9DD8DF1CEE6}"/>
              </a:ext>
            </a:extLst>
          </p:cNvPr>
          <p:cNvSpPr>
            <a:spLocks noGrp="1"/>
          </p:cNvSpPr>
          <p:nvPr>
            <p:ph type="body" sz="quarter" idx="12" hasCustomPrompt="1"/>
          </p:nvPr>
        </p:nvSpPr>
        <p:spPr>
          <a:xfrm>
            <a:off x="457200" y="1145032"/>
            <a:ext cx="4023360" cy="182880"/>
          </a:xfrm>
          <a:prstGeom prst="rect">
            <a:avLst/>
          </a:prstGeom>
        </p:spPr>
        <p:txBody>
          <a:bodyPr lIns="0" tIns="0" rIns="0" bIns="0"/>
          <a:lstStyle>
            <a:lvl1pPr>
              <a:defRPr sz="900" i="1"/>
            </a:lvl1pPr>
          </a:lstStyle>
          <a:p>
            <a:pPr lvl="0"/>
            <a:r>
              <a:rPr lang="en-US" dirty="0"/>
              <a:t>Subtitle Arial Italic 12</a:t>
            </a:r>
          </a:p>
        </p:txBody>
      </p:sp>
      <p:sp>
        <p:nvSpPr>
          <p:cNvPr id="8" name="Content Placeholder 6">
            <a:extLst>
              <a:ext uri="{FF2B5EF4-FFF2-40B4-BE49-F238E27FC236}">
                <a16:creationId xmlns:a16="http://schemas.microsoft.com/office/drawing/2014/main" id="{8C57861E-DD5F-724D-BB46-31BE24D739BE}"/>
              </a:ext>
            </a:extLst>
          </p:cNvPr>
          <p:cNvSpPr>
            <a:spLocks noGrp="1"/>
          </p:cNvSpPr>
          <p:nvPr>
            <p:ph sz="quarter" idx="13" hasCustomPrompt="1"/>
          </p:nvPr>
        </p:nvSpPr>
        <p:spPr>
          <a:xfrm>
            <a:off x="4709161" y="1527048"/>
            <a:ext cx="4010024" cy="1231106"/>
          </a:xfrm>
          <a:prstGeom prst="rect">
            <a:avLst/>
          </a:prstGeom>
        </p:spPr>
        <p:txBody>
          <a:bodyPr lIns="0" tIns="0" rIns="0" bIns="0"/>
          <a:lstStyle>
            <a:lvl1pPr>
              <a:defRPr sz="900"/>
            </a:lvl1pPr>
          </a:lstStyle>
          <a:p>
            <a:pPr lvl="0"/>
            <a:r>
              <a:rPr lang="en-US" dirty="0"/>
              <a:t>Click to edit text.</a:t>
            </a:r>
          </a:p>
        </p:txBody>
      </p:sp>
      <p:sp>
        <p:nvSpPr>
          <p:cNvPr id="9" name="Text Placeholder 3">
            <a:extLst>
              <a:ext uri="{FF2B5EF4-FFF2-40B4-BE49-F238E27FC236}">
                <a16:creationId xmlns:a16="http://schemas.microsoft.com/office/drawing/2014/main" id="{CD3BA6B5-55DF-AD4A-AEAE-67978209827B}"/>
              </a:ext>
            </a:extLst>
          </p:cNvPr>
          <p:cNvSpPr>
            <a:spLocks noGrp="1"/>
          </p:cNvSpPr>
          <p:nvPr>
            <p:ph type="body" sz="quarter" idx="14" hasCustomPrompt="1"/>
          </p:nvPr>
        </p:nvSpPr>
        <p:spPr>
          <a:xfrm>
            <a:off x="4709160" y="914401"/>
            <a:ext cx="4023360" cy="182880"/>
          </a:xfrm>
          <a:prstGeom prst="rect">
            <a:avLst/>
          </a:prstGeom>
        </p:spPr>
        <p:txBody>
          <a:bodyPr lIns="0" tIns="0" rIns="0" bIns="0"/>
          <a:lstStyle>
            <a:lvl1pPr>
              <a:defRPr sz="1050"/>
            </a:lvl1pPr>
          </a:lstStyle>
          <a:p>
            <a:pPr lvl="0"/>
            <a:r>
              <a:rPr lang="en-US" dirty="0"/>
              <a:t>Figure Title Arial 14</a:t>
            </a:r>
          </a:p>
        </p:txBody>
      </p:sp>
      <p:sp>
        <p:nvSpPr>
          <p:cNvPr id="10" name="Text Placeholder 5">
            <a:extLst>
              <a:ext uri="{FF2B5EF4-FFF2-40B4-BE49-F238E27FC236}">
                <a16:creationId xmlns:a16="http://schemas.microsoft.com/office/drawing/2014/main" id="{418B1384-832C-7D41-89B8-3C0C9B166D9C}"/>
              </a:ext>
            </a:extLst>
          </p:cNvPr>
          <p:cNvSpPr>
            <a:spLocks noGrp="1"/>
          </p:cNvSpPr>
          <p:nvPr>
            <p:ph type="body" sz="quarter" idx="15" hasCustomPrompt="1"/>
          </p:nvPr>
        </p:nvSpPr>
        <p:spPr>
          <a:xfrm>
            <a:off x="4709160" y="1145032"/>
            <a:ext cx="4023360" cy="182880"/>
          </a:xfrm>
          <a:prstGeom prst="rect">
            <a:avLst/>
          </a:prstGeom>
        </p:spPr>
        <p:txBody>
          <a:bodyPr lIns="0" tIns="0" rIns="0" bIns="0"/>
          <a:lstStyle>
            <a:lvl1pPr>
              <a:defRPr sz="900" i="1"/>
            </a:lvl1pPr>
          </a:lstStyle>
          <a:p>
            <a:pPr lvl="0"/>
            <a:r>
              <a:rPr lang="en-US" dirty="0"/>
              <a:t>Subtitle Arial Italic 12</a:t>
            </a:r>
          </a:p>
        </p:txBody>
      </p:sp>
    </p:spTree>
    <p:extLst>
      <p:ext uri="{BB962C8B-B14F-4D97-AF65-F5344CB8AC3E}">
        <p14:creationId xmlns:p14="http://schemas.microsoft.com/office/powerpoint/2010/main" val="328563010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lstStyle>
            <a:lvl1pPr marL="160020" indent="-160020">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70A83538-2DB6-394D-A30B-2770317D80F4}" type="datetime1">
              <a:rPr lang="en-US" smtClean="0"/>
              <a:t>7/14/2020</a:t>
            </a:fld>
            <a:endParaRPr lang="en-US" dirty="0"/>
          </a:p>
        </p:txBody>
      </p:sp>
      <p:sp>
        <p:nvSpPr>
          <p:cNvPr id="5" name="Footer Placeholder 4"/>
          <p:cNvSpPr>
            <a:spLocks noGrp="1"/>
          </p:cNvSpPr>
          <p:nvPr>
            <p:ph type="ftr" sz="quarter" idx="11"/>
          </p:nvPr>
        </p:nvSpPr>
        <p:spPr/>
        <p:txBody>
          <a:bodyPr/>
          <a:lstStyle/>
          <a:p>
            <a:r>
              <a:rPr lang="en-US"/>
              <a:t>RPM International Inc. | The Values &amp; Expectations of 168</a:t>
            </a:r>
            <a:endParaRPr lang="en-US" dirty="0"/>
          </a:p>
        </p:txBody>
      </p:sp>
      <p:sp>
        <p:nvSpPr>
          <p:cNvPr id="6" name="Slide Number Placeholder 5"/>
          <p:cNvSpPr>
            <a:spLocks noGrp="1"/>
          </p:cNvSpPr>
          <p:nvPr>
            <p:ph type="sldNum" sz="quarter" idx="12"/>
          </p:nvPr>
        </p:nvSpPr>
        <p:spPr/>
        <p:txBody>
          <a:bodyPr/>
          <a:lstStyle/>
          <a:p>
            <a:fld id="{BC1B6A75-6DFD-4E65-BA70-3DC040D592AA}" type="slidenum">
              <a:rPr lang="en-US" smtClean="0"/>
              <a:t>‹#›</a:t>
            </a:fld>
            <a:endParaRPr lang="en-US" dirty="0"/>
          </a:p>
        </p:txBody>
      </p:sp>
    </p:spTree>
    <p:extLst>
      <p:ext uri="{BB962C8B-B14F-4D97-AF65-F5344CB8AC3E}">
        <p14:creationId xmlns:p14="http://schemas.microsoft.com/office/powerpoint/2010/main" val="1779773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6D9C2DC-7DD7-4CCC-9988-35B863DFA90C}"/>
              </a:ext>
            </a:extLst>
          </p:cNvPr>
          <p:cNvGraphicFramePr>
            <a:graphicFrameLocks noChangeAspect="1"/>
          </p:cNvGraphicFramePr>
          <p:nvPr userDrawn="1">
            <p:custDataLst>
              <p:tags r:id="rId2"/>
            </p:custDataLst>
            <p:extLst>
              <p:ext uri="{D42A27DB-BD31-4B8C-83A1-F6EECF244321}">
                <p14:modId xmlns:p14="http://schemas.microsoft.com/office/powerpoint/2010/main" val="2080291004"/>
              </p:ext>
            </p:extLst>
          </p:nvPr>
        </p:nvGraphicFramePr>
        <p:xfrm>
          <a:off x="1192" y="1593"/>
          <a:ext cx="1190" cy="1587"/>
        </p:xfrm>
        <a:graphic>
          <a:graphicData uri="http://schemas.openxmlformats.org/presentationml/2006/ole">
            <mc:AlternateContent xmlns:mc="http://schemas.openxmlformats.org/markup-compatibility/2006">
              <mc:Choice xmlns:v="urn:schemas-microsoft-com:vml" Requires="v">
                <p:oleObj spid="_x0000_s3074" name="think-cell Slide" r:id="rId4" imgW="216" imgH="216" progId="TCLayout.ActiveDocument.1">
                  <p:embed/>
                </p:oleObj>
              </mc:Choice>
              <mc:Fallback>
                <p:oleObj name="think-cell Slide" r:id="rId4" imgW="216" imgH="216" progId="TCLayout.ActiveDocument.1">
                  <p:embed/>
                  <p:pic>
                    <p:nvPicPr>
                      <p:cNvPr id="4" name="Object 3" hidden="1">
                        <a:extLst>
                          <a:ext uri="{FF2B5EF4-FFF2-40B4-BE49-F238E27FC236}">
                            <a16:creationId xmlns:a16="http://schemas.microsoft.com/office/drawing/2014/main" id="{06D9C2DC-7DD7-4CCC-9988-35B863DFA90C}"/>
                          </a:ext>
                        </a:extLst>
                      </p:cNvPr>
                      <p:cNvPicPr/>
                      <p:nvPr/>
                    </p:nvPicPr>
                    <p:blipFill>
                      <a:blip r:embed="rId5"/>
                      <a:stretch>
                        <a:fillRect/>
                      </a:stretch>
                    </p:blipFill>
                    <p:spPr>
                      <a:xfrm>
                        <a:off x="1192" y="1593"/>
                        <a:ext cx="1190"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t>Click to edit Master title style</a:t>
            </a:r>
          </a:p>
        </p:txBody>
      </p:sp>
      <p:sp>
        <p:nvSpPr>
          <p:cNvPr id="5" name="Content Placeholder 4"/>
          <p:cNvSpPr>
            <a:spLocks noGrp="1"/>
          </p:cNvSpPr>
          <p:nvPr>
            <p:ph sz="quarter" idx="10"/>
          </p:nvPr>
        </p:nvSpPr>
        <p:spPr>
          <a:xfrm>
            <a:off x="440513" y="1126362"/>
            <a:ext cx="8220456" cy="5102352"/>
          </a:xfrm>
        </p:spPr>
        <p:txBody>
          <a:bodyPr/>
          <a:lstStyle>
            <a:lvl1pPr>
              <a:defRPr sz="1800"/>
            </a:lvl1pPr>
            <a:lvl2pPr>
              <a:defRPr sz="1600"/>
            </a:lvl2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51003217"/>
      </p:ext>
    </p:extLst>
  </p:cSld>
  <p:clrMapOvr>
    <a:masterClrMapping/>
  </p:clrMapOvr>
  <p:transition spd="med">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8" name="Rectangle 7"/>
          <p:cNvSpPr/>
          <p:nvPr userDrawn="1"/>
        </p:nvSpPr>
        <p:spPr>
          <a:xfrm>
            <a:off x="0" y="1"/>
            <a:ext cx="9144000" cy="5156790"/>
          </a:xfrm>
          <a:prstGeom prst="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pic>
        <p:nvPicPr>
          <p:cNvPr id="9" name="Picture 8">
            <a:extLst>
              <a:ext uri="{FF2B5EF4-FFF2-40B4-BE49-F238E27FC236}">
                <a16:creationId xmlns:a16="http://schemas.microsoft.com/office/drawing/2014/main" id="{C82F77A1-D7E1-47DD-9603-12F9BA2A1FB9}"/>
              </a:ext>
            </a:extLst>
          </p:cNvPr>
          <p:cNvPicPr>
            <a:picLocks noChangeAspect="1"/>
          </p:cNvPicPr>
          <p:nvPr userDrawn="1"/>
        </p:nvPicPr>
        <p:blipFill rotWithShape="1">
          <a:blip r:embed="rId2" cstate="print">
            <a:alphaModFix amt="36000"/>
            <a:extLst>
              <a:ext uri="{28A0092B-C50C-407E-A947-70E740481C1C}">
                <a14:useLocalDpi xmlns:a14="http://schemas.microsoft.com/office/drawing/2010/main" val="0"/>
              </a:ext>
            </a:extLst>
          </a:blip>
          <a:srcRect l="-5440" t="-10534" r="-23126" b="4"/>
          <a:stretch/>
        </p:blipFill>
        <p:spPr>
          <a:xfrm>
            <a:off x="271016" y="-372248"/>
            <a:ext cx="8754367" cy="7526296"/>
          </a:xfrm>
          <a:prstGeom prst="rect">
            <a:avLst/>
          </a:prstGeom>
        </p:spPr>
      </p:pic>
      <p:sp>
        <p:nvSpPr>
          <p:cNvPr id="10" name="Rectangle 9">
            <a:extLst>
              <a:ext uri="{FF2B5EF4-FFF2-40B4-BE49-F238E27FC236}">
                <a16:creationId xmlns:a16="http://schemas.microsoft.com/office/drawing/2014/main" id="{7C144544-FD6A-41A3-8107-87D7CD7D6C80}"/>
              </a:ext>
            </a:extLst>
          </p:cNvPr>
          <p:cNvSpPr/>
          <p:nvPr userDrawn="1"/>
        </p:nvSpPr>
        <p:spPr>
          <a:xfrm>
            <a:off x="0" y="6553200"/>
            <a:ext cx="9144000" cy="3048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1" name="Parallelogram 10"/>
          <p:cNvSpPr/>
          <p:nvPr userDrawn="1"/>
        </p:nvSpPr>
        <p:spPr>
          <a:xfrm rot="5400000" flipH="1">
            <a:off x="2089150" y="1431113"/>
            <a:ext cx="4965700" cy="9144000"/>
          </a:xfrm>
          <a:prstGeom prst="parallelogram">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5" name="Picture 14"/>
          <p:cNvPicPr>
            <a:picLocks noChangeAspect="1"/>
          </p:cNvPicPr>
          <p:nvPr userDrawn="1"/>
        </p:nvPicPr>
        <p:blipFill rotWithShape="1">
          <a:blip r:embed="rId3">
            <a:extLst>
              <a:ext uri="{28A0092B-C50C-407E-A947-70E740481C1C}">
                <a14:useLocalDpi xmlns:a14="http://schemas.microsoft.com/office/drawing/2010/main" val="0"/>
              </a:ext>
            </a:extLst>
          </a:blip>
          <a:srcRect l="9816" t="1697" b="16152"/>
          <a:stretch/>
        </p:blipFill>
        <p:spPr>
          <a:xfrm>
            <a:off x="0" y="0"/>
            <a:ext cx="5943600" cy="6858000"/>
          </a:xfrm>
          <a:prstGeom prst="rect">
            <a:avLst/>
          </a:prstGeom>
        </p:spPr>
      </p:pic>
      <p:sp>
        <p:nvSpPr>
          <p:cNvPr id="2" name="Title 1"/>
          <p:cNvSpPr>
            <a:spLocks noGrp="1"/>
          </p:cNvSpPr>
          <p:nvPr>
            <p:ph type="title"/>
          </p:nvPr>
        </p:nvSpPr>
        <p:spPr>
          <a:xfrm>
            <a:off x="5803900" y="2486984"/>
            <a:ext cx="2706688" cy="2852737"/>
          </a:xfrm>
        </p:spPr>
        <p:txBody>
          <a:bodyPr anchor="b"/>
          <a:lstStyle>
            <a:lvl1pPr algn="r">
              <a:defRPr sz="2600">
                <a:solidFill>
                  <a:schemeClr val="accent5">
                    <a:lumMod val="50000"/>
                  </a:schemeClr>
                </a:solidFill>
              </a:defRPr>
            </a:lvl1pPr>
          </a:lstStyle>
          <a:p>
            <a:r>
              <a:rPr lang="en-US" dirty="0"/>
              <a:t>Click to edit Master title style</a:t>
            </a:r>
          </a:p>
        </p:txBody>
      </p:sp>
      <p:sp>
        <p:nvSpPr>
          <p:cNvPr id="3" name="Text Placeholder 2"/>
          <p:cNvSpPr>
            <a:spLocks noGrp="1"/>
          </p:cNvSpPr>
          <p:nvPr>
            <p:ph type="body" idx="1"/>
          </p:nvPr>
        </p:nvSpPr>
        <p:spPr>
          <a:xfrm>
            <a:off x="5803900" y="5357814"/>
            <a:ext cx="2706688" cy="958078"/>
          </a:xfrm>
        </p:spPr>
        <p:txBody>
          <a:bodyPr/>
          <a:lstStyle>
            <a:lvl1pPr marL="0" indent="0" algn="r">
              <a:buNone/>
              <a:defRPr sz="1800">
                <a:solidFill>
                  <a:schemeClr val="tx1">
                    <a:tint val="75000"/>
                  </a:schemeClr>
                </a:solidFill>
              </a:defRPr>
            </a:lvl1pPr>
            <a:lvl2pPr marL="342875" indent="0">
              <a:buNone/>
              <a:defRPr sz="1500">
                <a:solidFill>
                  <a:schemeClr val="tx1">
                    <a:tint val="75000"/>
                  </a:schemeClr>
                </a:solidFill>
              </a:defRPr>
            </a:lvl2pPr>
            <a:lvl3pPr marL="685749" indent="0">
              <a:buNone/>
              <a:defRPr sz="1350">
                <a:solidFill>
                  <a:schemeClr val="tx1">
                    <a:tint val="75000"/>
                  </a:schemeClr>
                </a:solidFill>
              </a:defRPr>
            </a:lvl3pPr>
            <a:lvl4pPr marL="1028624" indent="0">
              <a:buNone/>
              <a:defRPr sz="1200">
                <a:solidFill>
                  <a:schemeClr val="tx1">
                    <a:tint val="75000"/>
                  </a:schemeClr>
                </a:solidFill>
              </a:defRPr>
            </a:lvl4pPr>
            <a:lvl5pPr marL="1371498" indent="0">
              <a:buNone/>
              <a:defRPr sz="1200">
                <a:solidFill>
                  <a:schemeClr val="tx1">
                    <a:tint val="75000"/>
                  </a:schemeClr>
                </a:solidFill>
              </a:defRPr>
            </a:lvl5pPr>
            <a:lvl6pPr marL="1714373" indent="0">
              <a:buNone/>
              <a:defRPr sz="1200">
                <a:solidFill>
                  <a:schemeClr val="tx1">
                    <a:tint val="75000"/>
                  </a:schemeClr>
                </a:solidFill>
              </a:defRPr>
            </a:lvl6pPr>
            <a:lvl7pPr marL="2057246" indent="0">
              <a:buNone/>
              <a:defRPr sz="1200">
                <a:solidFill>
                  <a:schemeClr val="tx1">
                    <a:tint val="75000"/>
                  </a:schemeClr>
                </a:solidFill>
              </a:defRPr>
            </a:lvl7pPr>
            <a:lvl8pPr marL="2400120" indent="0">
              <a:buNone/>
              <a:defRPr sz="1200">
                <a:solidFill>
                  <a:schemeClr val="tx1">
                    <a:tint val="75000"/>
                  </a:schemeClr>
                </a:solidFill>
              </a:defRPr>
            </a:lvl8pPr>
            <a:lvl9pPr marL="2742995" indent="0">
              <a:buNone/>
              <a:defRPr sz="1200">
                <a:solidFill>
                  <a:schemeClr val="tx1">
                    <a:tint val="75000"/>
                  </a:schemeClr>
                </a:solidFill>
              </a:defRPr>
            </a:lvl9pPr>
          </a:lstStyle>
          <a:p>
            <a:pPr lvl="0"/>
            <a:r>
              <a:rPr lang="en-US" dirty="0"/>
              <a:t>Click to edit Master text styles</a:t>
            </a:r>
          </a:p>
        </p:txBody>
      </p:sp>
    </p:spTree>
    <p:extLst>
      <p:ext uri="{BB962C8B-B14F-4D97-AF65-F5344CB8AC3E}">
        <p14:creationId xmlns:p14="http://schemas.microsoft.com/office/powerpoint/2010/main" val="1009462826"/>
      </p:ext>
    </p:extLst>
  </p:cSld>
  <p:clrMapOvr>
    <a:masterClrMapping/>
  </p:clrMapOvr>
  <p:transition spd="med">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000"/>
            </a:lvl1pPr>
          </a:lstStyle>
          <a:p>
            <a:r>
              <a:rPr lang="en-US" dirty="0"/>
              <a:t>Click to edit Master title style</a:t>
            </a:r>
          </a:p>
        </p:txBody>
      </p:sp>
      <p:sp>
        <p:nvSpPr>
          <p:cNvPr id="3" name="Content Placeholder 2"/>
          <p:cNvSpPr>
            <a:spLocks noGrp="1"/>
          </p:cNvSpPr>
          <p:nvPr>
            <p:ph sz="half" idx="1"/>
          </p:nvPr>
        </p:nvSpPr>
        <p:spPr>
          <a:xfrm>
            <a:off x="424544" y="1122010"/>
            <a:ext cx="4114800" cy="5394960"/>
          </a:xfrm>
        </p:spPr>
        <p:txBody>
          <a:bodyPr/>
          <a:lstStyle>
            <a:lvl1pPr>
              <a:defRPr sz="1800"/>
            </a:lvl1pPr>
            <a:lvl2pPr>
              <a:defRPr sz="1600"/>
            </a:lvl2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4629150" y="1122011"/>
            <a:ext cx="4114800" cy="5337571"/>
          </a:xfrm>
        </p:spPr>
        <p:txBody>
          <a:bodyPr/>
          <a:lstStyle>
            <a:lvl1pPr>
              <a:defRPr sz="1800"/>
            </a:lvl1pPr>
            <a:lvl2pPr>
              <a:defRPr sz="1600"/>
            </a:lvl2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0577170"/>
      </p:ext>
    </p:extLst>
  </p:cSld>
  <p:clrMapOvr>
    <a:masterClrMapping/>
  </p:clrMapOvr>
  <p:transition spd="med">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19101" y="136893"/>
            <a:ext cx="7810499" cy="786384"/>
          </a:xfrm>
        </p:spPr>
        <p:txBody>
          <a:bodyPr anchor="ctr"/>
          <a:lstStyle>
            <a:lvl1pPr>
              <a:defRPr sz="2000"/>
            </a:lvl1pPr>
          </a:lstStyle>
          <a:p>
            <a:r>
              <a:rPr lang="en-US" dirty="0"/>
              <a:t>Click to edit Master title style</a:t>
            </a:r>
          </a:p>
        </p:txBody>
      </p:sp>
      <p:sp>
        <p:nvSpPr>
          <p:cNvPr id="3" name="Text Placeholder 2"/>
          <p:cNvSpPr>
            <a:spLocks noGrp="1"/>
          </p:cNvSpPr>
          <p:nvPr>
            <p:ph type="body" idx="1"/>
          </p:nvPr>
        </p:nvSpPr>
        <p:spPr>
          <a:xfrm>
            <a:off x="427368" y="1681163"/>
            <a:ext cx="4114800" cy="823912"/>
          </a:xfrm>
        </p:spPr>
        <p:txBody>
          <a:bodyPr anchor="b"/>
          <a:lstStyle>
            <a:lvl1pPr marL="0" indent="0">
              <a:buNone/>
              <a:defRPr sz="1800" b="1"/>
            </a:lvl1pPr>
            <a:lvl2pPr marL="342875" indent="0">
              <a:buNone/>
              <a:defRPr sz="1500" b="1"/>
            </a:lvl2pPr>
            <a:lvl3pPr marL="685749" indent="0">
              <a:buNone/>
              <a:defRPr sz="1350" b="1"/>
            </a:lvl3pPr>
            <a:lvl4pPr marL="1028624" indent="0">
              <a:buNone/>
              <a:defRPr sz="1200" b="1"/>
            </a:lvl4pPr>
            <a:lvl5pPr marL="1371498" indent="0">
              <a:buNone/>
              <a:defRPr sz="1200" b="1"/>
            </a:lvl5pPr>
            <a:lvl6pPr marL="1714373" indent="0">
              <a:buNone/>
              <a:defRPr sz="1200" b="1"/>
            </a:lvl6pPr>
            <a:lvl7pPr marL="2057246" indent="0">
              <a:buNone/>
              <a:defRPr sz="1200" b="1"/>
            </a:lvl7pPr>
            <a:lvl8pPr marL="2400120" indent="0">
              <a:buNone/>
              <a:defRPr sz="1200" b="1"/>
            </a:lvl8pPr>
            <a:lvl9pPr marL="2742995" indent="0">
              <a:buNone/>
              <a:defRPr sz="1200" b="1"/>
            </a:lvl9pPr>
          </a:lstStyle>
          <a:p>
            <a:pPr lvl="0"/>
            <a:r>
              <a:rPr lang="en-US" dirty="0"/>
              <a:t>Click to edit Master text styles</a:t>
            </a:r>
          </a:p>
        </p:txBody>
      </p:sp>
      <p:sp>
        <p:nvSpPr>
          <p:cNvPr id="4" name="Content Placeholder 3"/>
          <p:cNvSpPr>
            <a:spLocks noGrp="1"/>
          </p:cNvSpPr>
          <p:nvPr>
            <p:ph sz="half" idx="2"/>
          </p:nvPr>
        </p:nvSpPr>
        <p:spPr>
          <a:xfrm>
            <a:off x="427368" y="2505075"/>
            <a:ext cx="4114800" cy="3684588"/>
          </a:xfrm>
        </p:spPr>
        <p:txBody>
          <a:bodyPr/>
          <a:lstStyle>
            <a:lvl1pPr>
              <a:defRPr sz="1800"/>
            </a:lvl1pPr>
            <a:lvl2pPr>
              <a:defRPr sz="1600"/>
            </a:lvl2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4629151" y="1681163"/>
            <a:ext cx="4114800" cy="823912"/>
          </a:xfrm>
        </p:spPr>
        <p:txBody>
          <a:bodyPr anchor="b"/>
          <a:lstStyle>
            <a:lvl1pPr marL="0" indent="0">
              <a:buNone/>
              <a:defRPr sz="1800" b="1"/>
            </a:lvl1pPr>
            <a:lvl2pPr marL="342875" indent="0">
              <a:buNone/>
              <a:defRPr sz="1500" b="1"/>
            </a:lvl2pPr>
            <a:lvl3pPr marL="685749" indent="0">
              <a:buNone/>
              <a:defRPr sz="1350" b="1"/>
            </a:lvl3pPr>
            <a:lvl4pPr marL="1028624" indent="0">
              <a:buNone/>
              <a:defRPr sz="1200" b="1"/>
            </a:lvl4pPr>
            <a:lvl5pPr marL="1371498" indent="0">
              <a:buNone/>
              <a:defRPr sz="1200" b="1"/>
            </a:lvl5pPr>
            <a:lvl6pPr marL="1714373" indent="0">
              <a:buNone/>
              <a:defRPr sz="1200" b="1"/>
            </a:lvl6pPr>
            <a:lvl7pPr marL="2057246" indent="0">
              <a:buNone/>
              <a:defRPr sz="1200" b="1"/>
            </a:lvl7pPr>
            <a:lvl8pPr marL="2400120" indent="0">
              <a:buNone/>
              <a:defRPr sz="1200" b="1"/>
            </a:lvl8pPr>
            <a:lvl9pPr marL="2742995" indent="0">
              <a:buNone/>
              <a:defRPr sz="1200" b="1"/>
            </a:lvl9pPr>
          </a:lstStyle>
          <a:p>
            <a:pPr lvl="0"/>
            <a:r>
              <a:rPr lang="en-US" dirty="0"/>
              <a:t>Click to edit Master text styles</a:t>
            </a:r>
          </a:p>
        </p:txBody>
      </p:sp>
      <p:sp>
        <p:nvSpPr>
          <p:cNvPr id="6" name="Content Placeholder 5"/>
          <p:cNvSpPr>
            <a:spLocks noGrp="1"/>
          </p:cNvSpPr>
          <p:nvPr>
            <p:ph sz="quarter" idx="4"/>
          </p:nvPr>
        </p:nvSpPr>
        <p:spPr>
          <a:xfrm>
            <a:off x="4629151" y="2505075"/>
            <a:ext cx="4114800" cy="3684588"/>
          </a:xfrm>
        </p:spPr>
        <p:txBody>
          <a:bodyPr/>
          <a:lstStyle>
            <a:lvl1pPr>
              <a:defRPr sz="1800"/>
            </a:lvl1pPr>
            <a:lvl2pPr>
              <a:defRPr sz="1600"/>
            </a:lvl2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021874458"/>
      </p:ext>
    </p:extLst>
  </p:cSld>
  <p:clrMapOvr>
    <a:masterClrMapping/>
  </p:clrMapOvr>
  <p:transition spd="med">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19101" y="136893"/>
            <a:ext cx="7823562" cy="786384"/>
          </a:xfrm>
        </p:spPr>
        <p:txBody>
          <a:bodyPr/>
          <a:lstStyle>
            <a:lvl1pPr>
              <a:defRPr sz="2000"/>
            </a:lvl1pPr>
          </a:lstStyle>
          <a:p>
            <a:r>
              <a:rPr lang="en-US" dirty="0"/>
              <a:t>Click to edit Master title style</a:t>
            </a:r>
          </a:p>
        </p:txBody>
      </p:sp>
    </p:spTree>
    <p:extLst>
      <p:ext uri="{BB962C8B-B14F-4D97-AF65-F5344CB8AC3E}">
        <p14:creationId xmlns:p14="http://schemas.microsoft.com/office/powerpoint/2010/main" val="1473131464"/>
      </p:ext>
    </p:extLst>
  </p:cSld>
  <p:clrMapOvr>
    <a:masterClrMapping/>
  </p:clrMapOvr>
  <p:transition spd="med">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44744025"/>
      </p:ext>
    </p:extLst>
  </p:cSld>
  <p:clrMapOvr>
    <a:masterClrMapping/>
  </p:clrMapOvr>
  <p:transition spd="med">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844650"/>
            <a:ext cx="2949178" cy="1600200"/>
          </a:xfrm>
        </p:spPr>
        <p:txBody>
          <a:bodyPr anchor="b"/>
          <a:lstStyle>
            <a:lvl1pPr>
              <a:defRPr sz="2400"/>
            </a:lvl1pPr>
          </a:lstStyle>
          <a:p>
            <a:r>
              <a:rPr lang="en-US"/>
              <a:t>Click to edit Master title style</a:t>
            </a:r>
          </a:p>
        </p:txBody>
      </p:sp>
      <p:sp>
        <p:nvSpPr>
          <p:cNvPr id="3" name="Content Placeholder 2"/>
          <p:cNvSpPr>
            <a:spLocks noGrp="1"/>
          </p:cNvSpPr>
          <p:nvPr>
            <p:ph idx="1"/>
          </p:nvPr>
        </p:nvSpPr>
        <p:spPr>
          <a:xfrm>
            <a:off x="3887391" y="1374882"/>
            <a:ext cx="4629150" cy="4873625"/>
          </a:xfrm>
        </p:spPr>
        <p:txBody>
          <a:bodyPr/>
          <a:lstStyle>
            <a:lvl1pPr>
              <a:defRPr sz="2000"/>
            </a:lvl1pPr>
            <a:lvl2pPr>
              <a:defRPr sz="1600"/>
            </a:lvl2pPr>
            <a:lvl3pPr>
              <a:defRPr sz="1500"/>
            </a:lvl3pPr>
            <a:lvl4pPr>
              <a:defRPr sz="1350"/>
            </a:lvl4pPr>
            <a:lvl5pPr>
              <a:defRPr sz="1350"/>
            </a:lvl5pPr>
            <a:lvl6pPr>
              <a:defRPr sz="1500"/>
            </a:lvl6pPr>
            <a:lvl7pPr>
              <a:defRPr sz="1500"/>
            </a:lvl7pPr>
            <a:lvl8pPr>
              <a:defRPr sz="1500"/>
            </a:lvl8pPr>
            <a:lvl9pPr>
              <a:defRPr sz="15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half" idx="2"/>
          </p:nvPr>
        </p:nvSpPr>
        <p:spPr>
          <a:xfrm>
            <a:off x="629841" y="2444850"/>
            <a:ext cx="2949178" cy="3811588"/>
          </a:xfrm>
        </p:spPr>
        <p:txBody>
          <a:bodyPr/>
          <a:lstStyle>
            <a:lvl1pPr marL="0" indent="0">
              <a:buNone/>
              <a:defRPr sz="1200"/>
            </a:lvl1pPr>
            <a:lvl2pPr marL="342875" indent="0">
              <a:buNone/>
              <a:defRPr sz="1050"/>
            </a:lvl2pPr>
            <a:lvl3pPr marL="685749" indent="0">
              <a:buNone/>
              <a:defRPr sz="900"/>
            </a:lvl3pPr>
            <a:lvl4pPr marL="1028624" indent="0">
              <a:buNone/>
              <a:defRPr sz="750"/>
            </a:lvl4pPr>
            <a:lvl5pPr marL="1371498" indent="0">
              <a:buNone/>
              <a:defRPr sz="750"/>
            </a:lvl5pPr>
            <a:lvl6pPr marL="1714373" indent="0">
              <a:buNone/>
              <a:defRPr sz="750"/>
            </a:lvl6pPr>
            <a:lvl7pPr marL="2057246" indent="0">
              <a:buNone/>
              <a:defRPr sz="750"/>
            </a:lvl7pPr>
            <a:lvl8pPr marL="2400120" indent="0">
              <a:buNone/>
              <a:defRPr sz="750"/>
            </a:lvl8pPr>
            <a:lvl9pPr marL="2742995" indent="0">
              <a:buNone/>
              <a:defRPr sz="750"/>
            </a:lvl9pPr>
          </a:lstStyle>
          <a:p>
            <a:pPr lvl="0"/>
            <a:r>
              <a:rPr lang="en-US"/>
              <a:t>Click to edit Master text styles</a:t>
            </a:r>
          </a:p>
        </p:txBody>
      </p:sp>
    </p:spTree>
    <p:extLst>
      <p:ext uri="{BB962C8B-B14F-4D97-AF65-F5344CB8AC3E}">
        <p14:creationId xmlns:p14="http://schemas.microsoft.com/office/powerpoint/2010/main" val="4272208278"/>
      </p:ext>
    </p:extLst>
  </p:cSld>
  <p:clrMapOvr>
    <a:masterClrMapping/>
  </p:clrMapOvr>
  <p:transition spd="med">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844650"/>
            <a:ext cx="2949178" cy="1600200"/>
          </a:xfrm>
        </p:spPr>
        <p:txBody>
          <a:bodyPr anchor="b"/>
          <a:lstStyle>
            <a:lvl1pPr>
              <a:defRPr sz="2400"/>
            </a:lvl1pPr>
          </a:lstStyle>
          <a:p>
            <a:r>
              <a:rPr lang="en-US"/>
              <a:t>Click to edit Master title style</a:t>
            </a:r>
          </a:p>
        </p:txBody>
      </p:sp>
      <p:sp>
        <p:nvSpPr>
          <p:cNvPr id="3" name="Picture Placeholder 2"/>
          <p:cNvSpPr>
            <a:spLocks noGrp="1"/>
          </p:cNvSpPr>
          <p:nvPr>
            <p:ph type="pic" idx="1"/>
          </p:nvPr>
        </p:nvSpPr>
        <p:spPr>
          <a:xfrm>
            <a:off x="3887391" y="1374882"/>
            <a:ext cx="4629150" cy="4873625"/>
          </a:xfrm>
        </p:spPr>
        <p:txBody>
          <a:bodyPr/>
          <a:lstStyle>
            <a:lvl1pPr marL="0" indent="0">
              <a:buNone/>
              <a:defRPr sz="2400"/>
            </a:lvl1pPr>
            <a:lvl2pPr marL="342875" indent="0">
              <a:buNone/>
              <a:defRPr sz="2100"/>
            </a:lvl2pPr>
            <a:lvl3pPr marL="685749" indent="0">
              <a:buNone/>
              <a:defRPr sz="1800"/>
            </a:lvl3pPr>
            <a:lvl4pPr marL="1028624" indent="0">
              <a:buNone/>
              <a:defRPr sz="1500"/>
            </a:lvl4pPr>
            <a:lvl5pPr marL="1371498" indent="0">
              <a:buNone/>
              <a:defRPr sz="1500"/>
            </a:lvl5pPr>
            <a:lvl6pPr marL="1714373" indent="0">
              <a:buNone/>
              <a:defRPr sz="1500"/>
            </a:lvl6pPr>
            <a:lvl7pPr marL="2057246" indent="0">
              <a:buNone/>
              <a:defRPr sz="1500"/>
            </a:lvl7pPr>
            <a:lvl8pPr marL="2400120" indent="0">
              <a:buNone/>
              <a:defRPr sz="1500"/>
            </a:lvl8pPr>
            <a:lvl9pPr marL="2742995" indent="0">
              <a:buNone/>
              <a:defRPr sz="1500"/>
            </a:lvl9pPr>
          </a:lstStyle>
          <a:p>
            <a:r>
              <a:rPr lang="en-US"/>
              <a:t>Drag picture to placeholder or click icon to add</a:t>
            </a:r>
            <a:endParaRPr lang="en-US" dirty="0"/>
          </a:p>
        </p:txBody>
      </p:sp>
      <p:sp>
        <p:nvSpPr>
          <p:cNvPr id="4" name="Text Placeholder 3"/>
          <p:cNvSpPr>
            <a:spLocks noGrp="1"/>
          </p:cNvSpPr>
          <p:nvPr>
            <p:ph type="body" sz="half" idx="2"/>
          </p:nvPr>
        </p:nvSpPr>
        <p:spPr>
          <a:xfrm>
            <a:off x="629841" y="2444850"/>
            <a:ext cx="2949178" cy="3811588"/>
          </a:xfrm>
        </p:spPr>
        <p:txBody>
          <a:bodyPr/>
          <a:lstStyle>
            <a:lvl1pPr marL="0" indent="0">
              <a:buNone/>
              <a:defRPr sz="1200"/>
            </a:lvl1pPr>
            <a:lvl2pPr marL="342875" indent="0">
              <a:buNone/>
              <a:defRPr sz="1050"/>
            </a:lvl2pPr>
            <a:lvl3pPr marL="685749" indent="0">
              <a:buNone/>
              <a:defRPr sz="900"/>
            </a:lvl3pPr>
            <a:lvl4pPr marL="1028624" indent="0">
              <a:buNone/>
              <a:defRPr sz="750"/>
            </a:lvl4pPr>
            <a:lvl5pPr marL="1371498" indent="0">
              <a:buNone/>
              <a:defRPr sz="750"/>
            </a:lvl5pPr>
            <a:lvl6pPr marL="1714373" indent="0">
              <a:buNone/>
              <a:defRPr sz="750"/>
            </a:lvl6pPr>
            <a:lvl7pPr marL="2057246" indent="0">
              <a:buNone/>
              <a:defRPr sz="750"/>
            </a:lvl7pPr>
            <a:lvl8pPr marL="2400120" indent="0">
              <a:buNone/>
              <a:defRPr sz="750"/>
            </a:lvl8pPr>
            <a:lvl9pPr marL="2742995" indent="0">
              <a:buNone/>
              <a:defRPr sz="750"/>
            </a:lvl9pPr>
          </a:lstStyle>
          <a:p>
            <a:pPr lvl="0"/>
            <a:r>
              <a:rPr lang="en-US"/>
              <a:t>Click to edit Master text styles</a:t>
            </a:r>
          </a:p>
        </p:txBody>
      </p:sp>
    </p:spTree>
    <p:extLst>
      <p:ext uri="{BB962C8B-B14F-4D97-AF65-F5344CB8AC3E}">
        <p14:creationId xmlns:p14="http://schemas.microsoft.com/office/powerpoint/2010/main" val="1207288814"/>
      </p:ext>
    </p:extLst>
  </p:cSld>
  <p:clrMapOvr>
    <a:masterClrMapping/>
  </p:clrMapOvr>
  <p:transition spd="med">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vmlDrawing" Target="../drawings/vmlDrawing1.vml"/><Relationship Id="rId2" Type="http://schemas.openxmlformats.org/officeDocument/2006/relationships/slideLayout" Target="../slideLayouts/slideLayout2.xml"/><Relationship Id="rId16" Type="http://schemas.openxmlformats.org/officeDocument/2006/relationships/theme" Target="../theme/theme1.xml"/><Relationship Id="rId2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7C144544-FD6A-41A3-8107-87D7CD7D6C80}"/>
              </a:ext>
            </a:extLst>
          </p:cNvPr>
          <p:cNvSpPr/>
          <p:nvPr userDrawn="1"/>
        </p:nvSpPr>
        <p:spPr>
          <a:xfrm>
            <a:off x="0" y="0"/>
            <a:ext cx="9144000" cy="927847"/>
          </a:xfrm>
          <a:prstGeom prst="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graphicFrame>
        <p:nvGraphicFramePr>
          <p:cNvPr id="4" name="Object 3" hidden="1">
            <a:extLst>
              <a:ext uri="{FF2B5EF4-FFF2-40B4-BE49-F238E27FC236}">
                <a16:creationId xmlns:a16="http://schemas.microsoft.com/office/drawing/2014/main" id="{BA747609-9833-467F-ADAA-9AD838BECE59}"/>
              </a:ext>
            </a:extLst>
          </p:cNvPr>
          <p:cNvGraphicFramePr>
            <a:graphicFrameLocks noChangeAspect="1"/>
          </p:cNvGraphicFramePr>
          <p:nvPr userDrawn="1">
            <p:custDataLst>
              <p:tags r:id="rId18"/>
            </p:custDataLst>
            <p:extLst>
              <p:ext uri="{D42A27DB-BD31-4B8C-83A1-F6EECF244321}">
                <p14:modId xmlns:p14="http://schemas.microsoft.com/office/powerpoint/2010/main" val="2327716345"/>
              </p:ext>
            </p:extLst>
          </p:nvPr>
        </p:nvGraphicFramePr>
        <p:xfrm>
          <a:off x="1192" y="1593"/>
          <a:ext cx="1190" cy="1587"/>
        </p:xfrm>
        <a:graphic>
          <a:graphicData uri="http://schemas.openxmlformats.org/presentationml/2006/ole">
            <mc:AlternateContent xmlns:mc="http://schemas.openxmlformats.org/markup-compatibility/2006">
              <mc:Choice xmlns:v="urn:schemas-microsoft-com:vml" Requires="v">
                <p:oleObj spid="_x0000_s1026" name="think-cell Slide" r:id="rId20" imgW="216" imgH="216" progId="TCLayout.ActiveDocument.1">
                  <p:embed/>
                </p:oleObj>
              </mc:Choice>
              <mc:Fallback>
                <p:oleObj name="think-cell Slide" r:id="rId20" imgW="216" imgH="216" progId="TCLayout.ActiveDocument.1">
                  <p:embed/>
                  <p:pic>
                    <p:nvPicPr>
                      <p:cNvPr id="4" name="Object 3" hidden="1">
                        <a:extLst>
                          <a:ext uri="{FF2B5EF4-FFF2-40B4-BE49-F238E27FC236}">
                            <a16:creationId xmlns:a16="http://schemas.microsoft.com/office/drawing/2014/main" id="{BA747609-9833-467F-ADAA-9AD838BECE59}"/>
                          </a:ext>
                        </a:extLst>
                      </p:cNvPr>
                      <p:cNvPicPr/>
                      <p:nvPr/>
                    </p:nvPicPr>
                    <p:blipFill>
                      <a:blip r:embed="rId21"/>
                      <a:stretch>
                        <a:fillRect/>
                      </a:stretch>
                    </p:blipFill>
                    <p:spPr>
                      <a:xfrm>
                        <a:off x="1192" y="1593"/>
                        <a:ext cx="1190" cy="1587"/>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ADC626B4-3FDA-42D9-90C5-C9E389B82763}"/>
              </a:ext>
            </a:extLst>
          </p:cNvPr>
          <p:cNvSpPr/>
          <p:nvPr userDrawn="1">
            <p:custDataLst>
              <p:tags r:id="rId19"/>
            </p:custDataLst>
          </p:nvPr>
        </p:nvSpPr>
        <p:spPr>
          <a:xfrm>
            <a:off x="2" y="0"/>
            <a:ext cx="119063"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
        <p:nvSpPr>
          <p:cNvPr id="2" name="Title Placeholder 1"/>
          <p:cNvSpPr>
            <a:spLocks noGrp="1"/>
          </p:cNvSpPr>
          <p:nvPr>
            <p:ph type="title"/>
          </p:nvPr>
        </p:nvSpPr>
        <p:spPr>
          <a:xfrm>
            <a:off x="419101" y="136893"/>
            <a:ext cx="7797052" cy="785101"/>
          </a:xfrm>
          <a:prstGeom prst="rect">
            <a:avLst/>
          </a:prstGeom>
        </p:spPr>
        <p:txBody>
          <a:bodyPr vert="horz" lIns="91440" tIns="45720" rIns="91440" bIns="45720" rtlCol="0" anchor="ctr">
            <a:noAutofit/>
          </a:bodyPr>
          <a:lstStyle/>
          <a:p>
            <a:r>
              <a:rPr lang="en-US" dirty="0"/>
              <a:t>Click to edit Master title style</a:t>
            </a:r>
          </a:p>
        </p:txBody>
      </p:sp>
      <p:sp>
        <p:nvSpPr>
          <p:cNvPr id="3" name="Text Placeholder 2"/>
          <p:cNvSpPr>
            <a:spLocks noGrp="1"/>
          </p:cNvSpPr>
          <p:nvPr userDrawn="1">
            <p:ph type="body" idx="1"/>
          </p:nvPr>
        </p:nvSpPr>
        <p:spPr>
          <a:xfrm>
            <a:off x="440513" y="1126362"/>
            <a:ext cx="8222925" cy="5099282"/>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Slide Number">
            <a:extLst>
              <a:ext uri="{FF2B5EF4-FFF2-40B4-BE49-F238E27FC236}">
                <a16:creationId xmlns:a16="http://schemas.microsoft.com/office/drawing/2014/main" id="{9789DE4C-224A-416D-AFCD-ED778D9A1849}"/>
              </a:ext>
            </a:extLst>
          </p:cNvPr>
          <p:cNvSpPr txBox="1"/>
          <p:nvPr userDrawn="1"/>
        </p:nvSpPr>
        <p:spPr>
          <a:xfrm>
            <a:off x="8679182" y="6584429"/>
            <a:ext cx="262938" cy="215980"/>
          </a:xfrm>
          <a:prstGeom prst="rect">
            <a:avLst/>
          </a:prstGeom>
          <a:noFill/>
          <a:ln w="9525">
            <a:noFill/>
            <a:miter lim="800000"/>
            <a:headEnd/>
            <a:tailEnd/>
          </a:ln>
        </p:spPr>
        <p:txBody>
          <a:bodyPr vert="horz" wrap="square" lIns="0" tIns="0" rIns="0" bIns="0" numCol="1" anchor="ctr" anchorCtr="1" compatLnSpc="1">
            <a:prstTxWarp prst="textNoShape">
              <a:avLst/>
            </a:prstTxWarp>
            <a:noAutofit/>
          </a:bodyPr>
          <a:lstStyle>
            <a:defPPr>
              <a:defRPr lang="en-US"/>
            </a:defPPr>
            <a:lvl1pPr lvl="0" algn="r" eaLnBrk="0" hangingPunct="0">
              <a:defRPr sz="800">
                <a:solidFill>
                  <a:schemeClr val="dk1"/>
                </a:solidFill>
                <a:latin typeface="+mn-lt"/>
                <a:ea typeface="+mn-ea"/>
                <a:cs typeface="+mn-cs"/>
              </a:defRPr>
            </a:lvl1pPr>
          </a:lstStyle>
          <a:p>
            <a:pPr lvl="0" algn="r"/>
            <a:fld id="{87F6F332-D11C-4923-9517-2AAE86E1C2C5}" type="slidenum">
              <a:rPr lang="en-US" sz="825" noProof="0" smtClean="0">
                <a:solidFill>
                  <a:schemeClr val="accent5">
                    <a:lumMod val="50000"/>
                  </a:schemeClr>
                </a:solidFill>
              </a:rPr>
              <a:pPr lvl="0" algn="r"/>
              <a:t>‹#›</a:t>
            </a:fld>
            <a:endParaRPr lang="en-US" sz="825" noProof="0" dirty="0">
              <a:solidFill>
                <a:schemeClr val="accent5">
                  <a:lumMod val="50000"/>
                </a:schemeClr>
              </a:solidFill>
            </a:endParaRPr>
          </a:p>
        </p:txBody>
      </p:sp>
      <p:sp>
        <p:nvSpPr>
          <p:cNvPr id="5" name="TextBox 4">
            <a:extLst>
              <a:ext uri="{FF2B5EF4-FFF2-40B4-BE49-F238E27FC236}">
                <a16:creationId xmlns:a16="http://schemas.microsoft.com/office/drawing/2014/main" id="{ACA80362-88BD-43B7-9014-00121625D506}"/>
              </a:ext>
            </a:extLst>
          </p:cNvPr>
          <p:cNvSpPr txBox="1"/>
          <p:nvPr userDrawn="1"/>
        </p:nvSpPr>
        <p:spPr>
          <a:xfrm>
            <a:off x="7147194" y="6582775"/>
            <a:ext cx="1479449" cy="219291"/>
          </a:xfrm>
          <a:prstGeom prst="rect">
            <a:avLst/>
          </a:prstGeom>
          <a:noFill/>
        </p:spPr>
        <p:txBody>
          <a:bodyPr wrap="square" rtlCol="0" anchor="ctr">
            <a:spAutoFit/>
          </a:bodyPr>
          <a:lstStyle/>
          <a:p>
            <a:pPr algn="r"/>
            <a:r>
              <a:rPr lang="en-US" sz="825" dirty="0">
                <a:solidFill>
                  <a:schemeClr val="accent5">
                    <a:lumMod val="50000"/>
                  </a:schemeClr>
                </a:solidFill>
              </a:rPr>
              <a:t>DRAFT – 02.05.19</a:t>
            </a:r>
          </a:p>
        </p:txBody>
      </p:sp>
      <p:pic>
        <p:nvPicPr>
          <p:cNvPr id="6" name="Picture 5"/>
          <p:cNvPicPr>
            <a:picLocks noChangeAspect="1"/>
          </p:cNvPicPr>
          <p:nvPr userDrawn="1"/>
        </p:nvPicPr>
        <p:blipFill>
          <a:blip r:embed="rId22" cstate="print">
            <a:extLst>
              <a:ext uri="{28A0092B-C50C-407E-A947-70E740481C1C}">
                <a14:useLocalDpi xmlns:a14="http://schemas.microsoft.com/office/drawing/2010/main" val="0"/>
              </a:ext>
            </a:extLst>
          </a:blip>
          <a:stretch>
            <a:fillRect/>
          </a:stretch>
        </p:blipFill>
        <p:spPr>
          <a:xfrm>
            <a:off x="8392796" y="382628"/>
            <a:ext cx="494030" cy="236520"/>
          </a:xfrm>
          <a:prstGeom prst="rect">
            <a:avLst/>
          </a:prstGeom>
        </p:spPr>
      </p:pic>
    </p:spTree>
    <p:extLst>
      <p:ext uri="{BB962C8B-B14F-4D97-AF65-F5344CB8AC3E}">
        <p14:creationId xmlns:p14="http://schemas.microsoft.com/office/powerpoint/2010/main" val="268088400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Lst>
  <p:transition spd="med">
    <p:fade/>
  </p:transition>
  <p:hf sldNum="0" hdr="0" ftr="0" dt="0"/>
  <p:txStyles>
    <p:titleStyle>
      <a:lvl1pPr algn="l" defTabSz="685749" rtl="0" eaLnBrk="1" latinLnBrk="0" hangingPunct="1">
        <a:lnSpc>
          <a:spcPct val="90000"/>
        </a:lnSpc>
        <a:spcBef>
          <a:spcPct val="0"/>
        </a:spcBef>
        <a:buNone/>
        <a:defRPr sz="2000" kern="1200">
          <a:solidFill>
            <a:schemeClr val="bg1"/>
          </a:solidFill>
          <a:latin typeface="+mj-lt"/>
          <a:ea typeface="+mj-ea"/>
          <a:cs typeface="+mj-cs"/>
        </a:defRPr>
      </a:lvl1pPr>
    </p:titleStyle>
    <p:bodyStyle>
      <a:lvl1pPr marL="171438" indent="-171438" algn="l" defTabSz="685749" rtl="0" eaLnBrk="1" latinLnBrk="0" hangingPunct="1">
        <a:lnSpc>
          <a:spcPct val="90000"/>
        </a:lnSpc>
        <a:spcBef>
          <a:spcPts val="750"/>
        </a:spcBef>
        <a:buFont typeface="Arial" panose="020B0604020202020204" pitchFamily="34" charset="0"/>
        <a:buChar char="•"/>
        <a:defRPr sz="2000" kern="1200">
          <a:solidFill>
            <a:schemeClr val="tx1"/>
          </a:solidFill>
          <a:latin typeface="+mn-lt"/>
          <a:ea typeface="+mn-ea"/>
          <a:cs typeface="+mn-cs"/>
        </a:defRPr>
      </a:lvl1pPr>
      <a:lvl2pPr marL="514313" indent="-171438" algn="l" defTabSz="685749"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186" indent="-171438" algn="l" defTabSz="685749"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060" indent="-171438" algn="l" defTabSz="685749"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2935" indent="-171438" algn="l" defTabSz="685749"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809" indent="-171438" algn="l" defTabSz="685749"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684" indent="-171438" algn="l" defTabSz="685749"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558" indent="-171438" algn="l" defTabSz="685749"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433" indent="-171438" algn="l" defTabSz="685749"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749" rtl="0" eaLnBrk="1" latinLnBrk="0" hangingPunct="1">
        <a:defRPr sz="1350" kern="1200">
          <a:solidFill>
            <a:schemeClr val="tx1"/>
          </a:solidFill>
          <a:latin typeface="+mn-lt"/>
          <a:ea typeface="+mn-ea"/>
          <a:cs typeface="+mn-cs"/>
        </a:defRPr>
      </a:lvl1pPr>
      <a:lvl2pPr marL="342875" algn="l" defTabSz="685749" rtl="0" eaLnBrk="1" latinLnBrk="0" hangingPunct="1">
        <a:defRPr sz="1350" kern="1200">
          <a:solidFill>
            <a:schemeClr val="tx1"/>
          </a:solidFill>
          <a:latin typeface="+mn-lt"/>
          <a:ea typeface="+mn-ea"/>
          <a:cs typeface="+mn-cs"/>
        </a:defRPr>
      </a:lvl2pPr>
      <a:lvl3pPr marL="685749" algn="l" defTabSz="685749" rtl="0" eaLnBrk="1" latinLnBrk="0" hangingPunct="1">
        <a:defRPr sz="1350" kern="1200">
          <a:solidFill>
            <a:schemeClr val="tx1"/>
          </a:solidFill>
          <a:latin typeface="+mn-lt"/>
          <a:ea typeface="+mn-ea"/>
          <a:cs typeface="+mn-cs"/>
        </a:defRPr>
      </a:lvl3pPr>
      <a:lvl4pPr marL="1028624" algn="l" defTabSz="685749" rtl="0" eaLnBrk="1" latinLnBrk="0" hangingPunct="1">
        <a:defRPr sz="1350" kern="1200">
          <a:solidFill>
            <a:schemeClr val="tx1"/>
          </a:solidFill>
          <a:latin typeface="+mn-lt"/>
          <a:ea typeface="+mn-ea"/>
          <a:cs typeface="+mn-cs"/>
        </a:defRPr>
      </a:lvl4pPr>
      <a:lvl5pPr marL="1371498" algn="l" defTabSz="685749" rtl="0" eaLnBrk="1" latinLnBrk="0" hangingPunct="1">
        <a:defRPr sz="1350" kern="1200">
          <a:solidFill>
            <a:schemeClr val="tx1"/>
          </a:solidFill>
          <a:latin typeface="+mn-lt"/>
          <a:ea typeface="+mn-ea"/>
          <a:cs typeface="+mn-cs"/>
        </a:defRPr>
      </a:lvl5pPr>
      <a:lvl6pPr marL="1714373" algn="l" defTabSz="685749" rtl="0" eaLnBrk="1" latinLnBrk="0" hangingPunct="1">
        <a:defRPr sz="1350" kern="1200">
          <a:solidFill>
            <a:schemeClr val="tx1"/>
          </a:solidFill>
          <a:latin typeface="+mn-lt"/>
          <a:ea typeface="+mn-ea"/>
          <a:cs typeface="+mn-cs"/>
        </a:defRPr>
      </a:lvl6pPr>
      <a:lvl7pPr marL="2057246" algn="l" defTabSz="685749" rtl="0" eaLnBrk="1" latinLnBrk="0" hangingPunct="1">
        <a:defRPr sz="1350" kern="1200">
          <a:solidFill>
            <a:schemeClr val="tx1"/>
          </a:solidFill>
          <a:latin typeface="+mn-lt"/>
          <a:ea typeface="+mn-ea"/>
          <a:cs typeface="+mn-cs"/>
        </a:defRPr>
      </a:lvl7pPr>
      <a:lvl8pPr marL="2400120" algn="l" defTabSz="685749" rtl="0" eaLnBrk="1" latinLnBrk="0" hangingPunct="1">
        <a:defRPr sz="1350" kern="1200">
          <a:solidFill>
            <a:schemeClr val="tx1"/>
          </a:solidFill>
          <a:latin typeface="+mn-lt"/>
          <a:ea typeface="+mn-ea"/>
          <a:cs typeface="+mn-cs"/>
        </a:defRPr>
      </a:lvl8pPr>
      <a:lvl9pPr marL="2742995" algn="l" defTabSz="685749"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760" userDrawn="1">
          <p15:clr>
            <a:srgbClr val="F26B43"/>
          </p15:clr>
        </p15:guide>
        <p15:guide id="2" userDrawn="1">
          <p15:clr>
            <a:srgbClr val="F26B43"/>
          </p15:clr>
        </p15:guide>
        <p15:guide id="3" pos="2880" userDrawn="1">
          <p15:clr>
            <a:srgbClr val="F26B43"/>
          </p15:clr>
        </p15:guide>
        <p15:guide id="4" orient="horz" userDrawn="1">
          <p15:clr>
            <a:srgbClr val="F26B43"/>
          </p15:clr>
        </p15:guide>
        <p15:guide id="5" orient="horz" pos="4320"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13.xml"/></Relationships>
</file>

<file path=ppt/slides/_rels/slide1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13.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2.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Layout" Target="../slideLayouts/slideLayout13.xml"/></Relationships>
</file>

<file path=ppt/slides/_rels/slide2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13.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3.xml"/><Relationship Id="rId1" Type="http://schemas.openxmlformats.org/officeDocument/2006/relationships/slideLayout" Target="../slideLayouts/slideLayout13.xml"/><Relationship Id="rId4" Type="http://schemas.openxmlformats.org/officeDocument/2006/relationships/image" Target="../media/image8.png"/></Relationships>
</file>

<file path=ppt/slides/_rels/slide3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13.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Layout" Target="../slideLayouts/slideLayout14.xml"/><Relationship Id="rId4" Type="http://schemas.openxmlformats.org/officeDocument/2006/relationships/image" Target="../media/image21.png"/></Relationships>
</file>

<file path=ppt/slides/_rels/slide3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Layout" Target="../slideLayouts/slideLayout14.xml"/><Relationship Id="rId4" Type="http://schemas.openxmlformats.org/officeDocument/2006/relationships/image" Target="../media/image24.png"/></Relationships>
</file>

<file path=ppt/slides/_rels/slide37.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Layout" Target="../slideLayouts/slideLayout14.xml"/><Relationship Id="rId4" Type="http://schemas.openxmlformats.org/officeDocument/2006/relationships/image" Target="../media/image27.png"/></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9.xml.rels><?xml version="1.0" encoding="UTF-8" standalone="yes"?>
<Relationships xmlns="http://schemas.openxmlformats.org/package/2006/relationships"><Relationship Id="rId3" Type="http://schemas.openxmlformats.org/officeDocument/2006/relationships/image" Target="../media/image28.jpg"/><Relationship Id="rId2" Type="http://schemas.openxmlformats.org/officeDocument/2006/relationships/notesSlide" Target="../notesSlides/notesSlide5.xml"/><Relationship Id="rId1" Type="http://schemas.openxmlformats.org/officeDocument/2006/relationships/slideLayout" Target="../slideLayouts/slideLayout15.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0.xml.rels><?xml version="1.0" encoding="UTF-8" standalone="yes"?>
<Relationships xmlns="http://schemas.openxmlformats.org/package/2006/relationships"><Relationship Id="rId3" Type="http://schemas.openxmlformats.org/officeDocument/2006/relationships/image" Target="../media/image29.jpg"/><Relationship Id="rId2" Type="http://schemas.openxmlformats.org/officeDocument/2006/relationships/notesSlide" Target="../notesSlides/notesSlide6.xml"/><Relationship Id="rId1" Type="http://schemas.openxmlformats.org/officeDocument/2006/relationships/slideLayout" Target="../slideLayouts/slideLayout15.xml"/><Relationship Id="rId5" Type="http://schemas.openxmlformats.org/officeDocument/2006/relationships/hyperlink" Target="http://www.rpminc.com/hotline/" TargetMode="External"/><Relationship Id="rId4" Type="http://schemas.openxmlformats.org/officeDocument/2006/relationships/hyperlink" Target="https://iwf.tnwgrc.com/rpminternational" TargetMode="Externa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ctrTitle"/>
          </p:nvPr>
        </p:nvSpPr>
        <p:spPr/>
        <p:txBody>
          <a:bodyPr/>
          <a:lstStyle/>
          <a:p>
            <a:pPr algn="ctr"/>
            <a:br>
              <a:rPr lang="en-US" dirty="0"/>
            </a:br>
            <a:r>
              <a:rPr lang="en-US" dirty="0"/>
              <a:t>Working Together: Promoting Mutual Respect </a:t>
            </a:r>
            <a:br>
              <a:rPr lang="en-US" dirty="0"/>
            </a:br>
            <a:br>
              <a:rPr lang="en-US" dirty="0"/>
            </a:br>
            <a:br>
              <a:rPr lang="en-US" dirty="0"/>
            </a:br>
            <a:endParaRPr lang="en-US" dirty="0"/>
          </a:p>
        </p:txBody>
      </p:sp>
    </p:spTree>
    <p:extLst>
      <p:ext uri="{BB962C8B-B14F-4D97-AF65-F5344CB8AC3E}">
        <p14:creationId xmlns:p14="http://schemas.microsoft.com/office/powerpoint/2010/main" val="13008672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65986E-286D-478F-9CD1-748692002F67}"/>
              </a:ext>
            </a:extLst>
          </p:cNvPr>
          <p:cNvSpPr>
            <a:spLocks noGrp="1"/>
          </p:cNvSpPr>
          <p:nvPr>
            <p:ph type="title"/>
          </p:nvPr>
        </p:nvSpPr>
        <p:spPr/>
        <p:txBody>
          <a:bodyPr/>
          <a:lstStyle/>
          <a:p>
            <a:r>
              <a:rPr lang="en-GB" dirty="0"/>
              <a:t>Recognising Prohibited Behaviour… </a:t>
            </a:r>
            <a:r>
              <a:rPr lang="en-GB" b="1" dirty="0"/>
              <a:t>ANSWER</a:t>
            </a:r>
            <a:endParaRPr lang="en-GB" dirty="0"/>
          </a:p>
        </p:txBody>
      </p:sp>
      <p:sp>
        <p:nvSpPr>
          <p:cNvPr id="3" name="Content Placeholder 2">
            <a:extLst>
              <a:ext uri="{FF2B5EF4-FFF2-40B4-BE49-F238E27FC236}">
                <a16:creationId xmlns:a16="http://schemas.microsoft.com/office/drawing/2014/main" id="{CBC69F65-B013-4292-B0FD-B3A812E36219}"/>
              </a:ext>
            </a:extLst>
          </p:cNvPr>
          <p:cNvSpPr>
            <a:spLocks noGrp="1"/>
          </p:cNvSpPr>
          <p:nvPr>
            <p:ph idx="1"/>
          </p:nvPr>
        </p:nvSpPr>
        <p:spPr>
          <a:xfrm>
            <a:off x="709180" y="1839191"/>
            <a:ext cx="7806170" cy="2595649"/>
          </a:xfrm>
        </p:spPr>
        <p:txBody>
          <a:bodyPr/>
          <a:lstStyle/>
          <a:p>
            <a:endParaRPr lang="en-US" dirty="0"/>
          </a:p>
          <a:p>
            <a:pPr marL="0" indent="0">
              <a:buNone/>
            </a:pPr>
            <a:r>
              <a:rPr lang="en-US" sz="2500" b="1" dirty="0"/>
              <a:t>a), b) And c)</a:t>
            </a:r>
          </a:p>
          <a:p>
            <a:pPr marL="0" indent="0">
              <a:buNone/>
            </a:pPr>
            <a:endParaRPr lang="en-US" dirty="0"/>
          </a:p>
          <a:p>
            <a:pPr marL="0" indent="0">
              <a:buNone/>
            </a:pPr>
            <a:r>
              <a:rPr lang="en-US" dirty="0"/>
              <a:t>Any verbal or physical conduct directed at someone based on a personal, protected characteristic—like sex, age, race, or religion—may be considered harassment and is prohibited by the Values &amp; Expectations of 168</a:t>
            </a:r>
          </a:p>
          <a:p>
            <a:endParaRPr lang="en-GB" dirty="0"/>
          </a:p>
        </p:txBody>
      </p:sp>
      <p:sp>
        <p:nvSpPr>
          <p:cNvPr id="4" name="Multiplication Sign 3">
            <a:extLst>
              <a:ext uri="{FF2B5EF4-FFF2-40B4-BE49-F238E27FC236}">
                <a16:creationId xmlns:a16="http://schemas.microsoft.com/office/drawing/2014/main" id="{FA413319-10BC-4C25-A04C-E61CCEA3F80C}"/>
              </a:ext>
            </a:extLst>
          </p:cNvPr>
          <p:cNvSpPr/>
          <p:nvPr/>
        </p:nvSpPr>
        <p:spPr>
          <a:xfrm>
            <a:off x="3259836" y="4306824"/>
            <a:ext cx="2624328" cy="1709928"/>
          </a:xfrm>
          <a:prstGeom prst="mathMultiply">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3557941407"/>
      </p:ext>
    </p:extLst>
  </p:cSld>
  <p:clrMapOvr>
    <a:masterClrMapping/>
  </p:clrMapOvr>
  <mc:AlternateContent xmlns:mc="http://schemas.openxmlformats.org/markup-compatibility/2006" xmlns:p14="http://schemas.microsoft.com/office/powerpoint/2010/main">
    <mc:Choice Requires="p14">
      <p:transition spd="med" p14:dur="700" advClick="0" advTm="0">
        <p:fade/>
      </p:transition>
    </mc:Choice>
    <mc:Fallback xmlns="">
      <p:transition spd="med" advClick="0" advTm="0">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3D5CD5-5BA8-44BC-9EF1-2FC50D838CDC}"/>
              </a:ext>
            </a:extLst>
          </p:cNvPr>
          <p:cNvSpPr>
            <a:spLocks noGrp="1"/>
          </p:cNvSpPr>
          <p:nvPr>
            <p:ph type="title"/>
          </p:nvPr>
        </p:nvSpPr>
        <p:spPr/>
        <p:txBody>
          <a:bodyPr/>
          <a:lstStyle/>
          <a:p>
            <a:r>
              <a:rPr lang="en-GB" dirty="0"/>
              <a:t>Recognising Prohibited Behaviour…</a:t>
            </a:r>
          </a:p>
        </p:txBody>
      </p:sp>
      <p:sp>
        <p:nvSpPr>
          <p:cNvPr id="3" name="Content Placeholder 2">
            <a:extLst>
              <a:ext uri="{FF2B5EF4-FFF2-40B4-BE49-F238E27FC236}">
                <a16:creationId xmlns:a16="http://schemas.microsoft.com/office/drawing/2014/main" id="{E7B79169-C99A-4608-A4A9-EB80BF3C1680}"/>
              </a:ext>
            </a:extLst>
          </p:cNvPr>
          <p:cNvSpPr>
            <a:spLocks noGrp="1"/>
          </p:cNvSpPr>
          <p:nvPr>
            <p:ph idx="1"/>
          </p:nvPr>
        </p:nvSpPr>
        <p:spPr>
          <a:xfrm>
            <a:off x="419100" y="1260113"/>
            <a:ext cx="7806170" cy="4337774"/>
          </a:xfrm>
        </p:spPr>
        <p:txBody>
          <a:bodyPr>
            <a:normAutofit fontScale="85000" lnSpcReduction="10000"/>
          </a:bodyPr>
          <a:lstStyle/>
          <a:p>
            <a:pPr marL="0" indent="0">
              <a:buNone/>
            </a:pPr>
            <a:r>
              <a:rPr lang="en-US" u="sng" dirty="0"/>
              <a:t>Is my </a:t>
            </a:r>
            <a:r>
              <a:rPr lang="en-US" u="sng" dirty="0" err="1"/>
              <a:t>behaviour</a:t>
            </a:r>
            <a:r>
              <a:rPr lang="en-US" u="sng" dirty="0"/>
              <a:t> offensive? </a:t>
            </a:r>
          </a:p>
          <a:p>
            <a:pPr marL="0" indent="0">
              <a:buNone/>
            </a:pPr>
            <a:endParaRPr lang="en-US" dirty="0"/>
          </a:p>
          <a:p>
            <a:pPr marL="0" indent="0">
              <a:buNone/>
            </a:pPr>
            <a:r>
              <a:rPr lang="en-US" dirty="0" err="1"/>
              <a:t>Recognising</a:t>
            </a:r>
            <a:r>
              <a:rPr lang="en-US" dirty="0"/>
              <a:t> prohibited behavior is an important step towards helping us work together in ways that foster mutual respect. Knowing when your own </a:t>
            </a:r>
            <a:r>
              <a:rPr lang="en-US" dirty="0" err="1"/>
              <a:t>behaviour</a:t>
            </a:r>
            <a:r>
              <a:rPr lang="en-US" dirty="0"/>
              <a:t> could be offensive is also important. </a:t>
            </a:r>
          </a:p>
          <a:p>
            <a:pPr marL="0" indent="0">
              <a:buNone/>
            </a:pPr>
            <a:endParaRPr lang="en-US" dirty="0"/>
          </a:p>
          <a:p>
            <a:pPr marL="0" indent="0">
              <a:buNone/>
            </a:pPr>
            <a:r>
              <a:rPr lang="en-US" dirty="0"/>
              <a:t>Before telling a joke or making a questionable comment, ask yourself the following questions:</a:t>
            </a:r>
          </a:p>
          <a:p>
            <a:pPr marL="0" indent="0">
              <a:buNone/>
            </a:pPr>
            <a:endParaRPr lang="en-US" dirty="0"/>
          </a:p>
          <a:p>
            <a:pPr marL="0" indent="0">
              <a:buNone/>
            </a:pPr>
            <a:r>
              <a:rPr lang="en-US" dirty="0"/>
              <a:t>Would I feel comfortable saying this to my spouse, my parents, or my manager? </a:t>
            </a:r>
          </a:p>
          <a:p>
            <a:pPr marL="0" indent="0">
              <a:buNone/>
            </a:pPr>
            <a:r>
              <a:rPr lang="en-US" dirty="0"/>
              <a:t>Would I want someone ELSE saying this to my spouse, parents, or manager? </a:t>
            </a:r>
          </a:p>
          <a:p>
            <a:pPr marL="0" indent="0">
              <a:buNone/>
            </a:pPr>
            <a:r>
              <a:rPr lang="en-US" dirty="0"/>
              <a:t>Would I say this to a coworker of a different race or gender?</a:t>
            </a:r>
          </a:p>
          <a:p>
            <a:pPr marL="0" indent="0">
              <a:buNone/>
            </a:pPr>
            <a:endParaRPr lang="en-US" dirty="0"/>
          </a:p>
          <a:p>
            <a:pPr marL="0" indent="0">
              <a:buNone/>
            </a:pPr>
            <a:r>
              <a:rPr lang="en-US" dirty="0"/>
              <a:t>If you respond "no" to any of these questions, you're better off not making the remark.</a:t>
            </a:r>
          </a:p>
          <a:p>
            <a:endParaRPr lang="en-GB" dirty="0"/>
          </a:p>
        </p:txBody>
      </p:sp>
    </p:spTree>
    <p:extLst>
      <p:ext uri="{BB962C8B-B14F-4D97-AF65-F5344CB8AC3E}">
        <p14:creationId xmlns:p14="http://schemas.microsoft.com/office/powerpoint/2010/main" val="969574809"/>
      </p:ext>
    </p:extLst>
  </p:cSld>
  <p:clrMapOvr>
    <a:masterClrMapping/>
  </p:clrMapOvr>
  <mc:AlternateContent xmlns:mc="http://schemas.openxmlformats.org/markup-compatibility/2006" xmlns:p14="http://schemas.microsoft.com/office/powerpoint/2010/main">
    <mc:Choice Requires="p14">
      <p:transition spd="med" p14:dur="700" advClick="0" advTm="0">
        <p:fade/>
      </p:transition>
    </mc:Choice>
    <mc:Fallback xmlns="">
      <p:transition spd="med" advClick="0" advTm="0">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b="1" dirty="0"/>
              <a:t>Responding to Inappropriate </a:t>
            </a:r>
            <a:r>
              <a:rPr lang="en-US" b="1" dirty="0" err="1"/>
              <a:t>Behaviour</a:t>
            </a:r>
            <a:endParaRPr lang="en-US" b="1" dirty="0"/>
          </a:p>
        </p:txBody>
      </p:sp>
    </p:spTree>
    <p:extLst>
      <p:ext uri="{BB962C8B-B14F-4D97-AF65-F5344CB8AC3E}">
        <p14:creationId xmlns:p14="http://schemas.microsoft.com/office/powerpoint/2010/main" val="2102861254"/>
      </p:ext>
    </p:extLst>
  </p:cSld>
  <p:clrMapOvr>
    <a:masterClrMapping/>
  </p:clrMapOvr>
  <p:transition spd="med">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2DB980-337C-4710-BC40-DA9F1DE91D22}"/>
              </a:ext>
            </a:extLst>
          </p:cNvPr>
          <p:cNvSpPr>
            <a:spLocks noGrp="1"/>
          </p:cNvSpPr>
          <p:nvPr>
            <p:ph type="title"/>
          </p:nvPr>
        </p:nvSpPr>
        <p:spPr/>
        <p:txBody>
          <a:bodyPr/>
          <a:lstStyle/>
          <a:p>
            <a:r>
              <a:rPr lang="en-GB" dirty="0"/>
              <a:t>Responding To Inappropriate Behaviour…</a:t>
            </a:r>
          </a:p>
        </p:txBody>
      </p:sp>
      <p:sp>
        <p:nvSpPr>
          <p:cNvPr id="3" name="Content Placeholder 2">
            <a:extLst>
              <a:ext uri="{FF2B5EF4-FFF2-40B4-BE49-F238E27FC236}">
                <a16:creationId xmlns:a16="http://schemas.microsoft.com/office/drawing/2014/main" id="{C76D38B4-B1DF-4D34-A211-73F396E514C5}"/>
              </a:ext>
            </a:extLst>
          </p:cNvPr>
          <p:cNvSpPr>
            <a:spLocks noGrp="1"/>
          </p:cNvSpPr>
          <p:nvPr>
            <p:ph idx="1"/>
          </p:nvPr>
        </p:nvSpPr>
        <p:spPr>
          <a:xfrm>
            <a:off x="419100" y="1080238"/>
            <a:ext cx="6658356" cy="5432322"/>
          </a:xfrm>
        </p:spPr>
        <p:txBody>
          <a:bodyPr>
            <a:normAutofit lnSpcReduction="10000"/>
          </a:bodyPr>
          <a:lstStyle/>
          <a:p>
            <a:pPr marL="0" indent="0">
              <a:buNone/>
            </a:pPr>
            <a:endParaRPr lang="en-US" dirty="0"/>
          </a:p>
          <a:p>
            <a:pPr marL="0" indent="0">
              <a:buNone/>
            </a:pPr>
            <a:r>
              <a:rPr lang="en-US" u="sng" dirty="0"/>
              <a:t>Resources to help…</a:t>
            </a:r>
          </a:p>
          <a:p>
            <a:pPr marL="0" indent="0">
              <a:buNone/>
            </a:pPr>
            <a:endParaRPr lang="en-US" dirty="0"/>
          </a:p>
          <a:p>
            <a:pPr marL="0" indent="0">
              <a:buNone/>
            </a:pPr>
            <a:r>
              <a:rPr lang="en-US" dirty="0"/>
              <a:t>There is no reason to put up with disrespectful </a:t>
            </a:r>
            <a:r>
              <a:rPr lang="en-US" dirty="0" err="1"/>
              <a:t>behaviour</a:t>
            </a:r>
            <a:r>
              <a:rPr lang="en-US" dirty="0"/>
              <a:t>, whether directed at you or others.</a:t>
            </a:r>
          </a:p>
          <a:p>
            <a:pPr marL="0" indent="0">
              <a:buNone/>
            </a:pPr>
            <a:endParaRPr lang="en-US" dirty="0"/>
          </a:p>
          <a:p>
            <a:pPr marL="0" indent="0">
              <a:buNone/>
            </a:pPr>
            <a:r>
              <a:rPr lang="en-US" dirty="0"/>
              <a:t>RPM has many resources available to report violations of company policy, including:</a:t>
            </a:r>
          </a:p>
          <a:p>
            <a:r>
              <a:rPr lang="en-US" dirty="0"/>
              <a:t>Supervisors</a:t>
            </a:r>
          </a:p>
          <a:p>
            <a:pPr marL="0" indent="0">
              <a:buNone/>
            </a:pPr>
            <a:r>
              <a:rPr lang="en-US" sz="1700" dirty="0"/>
              <a:t>Your / another supervisor is always an option for reporting inappropriate conduct. Speak up as soon as you see something that doesn't feel right. All reports will be taken seriously.</a:t>
            </a:r>
          </a:p>
          <a:p>
            <a:pPr marL="0" indent="0">
              <a:buNone/>
            </a:pPr>
            <a:endParaRPr lang="en-US" sz="1700" dirty="0"/>
          </a:p>
          <a:p>
            <a:r>
              <a:rPr lang="en-US" dirty="0"/>
              <a:t>HR / Legal and Compliance Dept</a:t>
            </a:r>
          </a:p>
          <a:p>
            <a:pPr marL="0" indent="0">
              <a:buNone/>
            </a:pPr>
            <a:r>
              <a:rPr lang="en-US" sz="1600" dirty="0"/>
              <a:t>Depending on the nature of the inappropriate conduct, you can speak report incidents of inappropriate </a:t>
            </a:r>
            <a:r>
              <a:rPr lang="en-US" sz="1600" dirty="0" err="1"/>
              <a:t>behaviour</a:t>
            </a:r>
            <a:r>
              <a:rPr lang="en-US" sz="1600" dirty="0"/>
              <a:t> to your divisional HR or Legal Compliance departments or to RPM Legal and Compliance directly. </a:t>
            </a:r>
          </a:p>
          <a:p>
            <a:pPr marL="0" indent="0">
              <a:buNone/>
            </a:pPr>
            <a:endParaRPr lang="en-US" dirty="0"/>
          </a:p>
          <a:p>
            <a:pPr marL="0" indent="0">
              <a:buNone/>
            </a:pPr>
            <a:endParaRPr lang="en-US" dirty="0"/>
          </a:p>
          <a:p>
            <a:endParaRPr lang="en-GB" dirty="0"/>
          </a:p>
        </p:txBody>
      </p:sp>
      <p:pic>
        <p:nvPicPr>
          <p:cNvPr id="4" name="Picture 3">
            <a:extLst>
              <a:ext uri="{FF2B5EF4-FFF2-40B4-BE49-F238E27FC236}">
                <a16:creationId xmlns:a16="http://schemas.microsoft.com/office/drawing/2014/main" id="{E6ED91BD-E7BB-4D53-95E2-F876E4B4786E}"/>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004050" y="2404872"/>
            <a:ext cx="1511300" cy="1511300"/>
          </a:xfrm>
          <a:prstGeom prst="rect">
            <a:avLst/>
          </a:prstGeom>
        </p:spPr>
      </p:pic>
    </p:spTree>
    <p:extLst>
      <p:ext uri="{BB962C8B-B14F-4D97-AF65-F5344CB8AC3E}">
        <p14:creationId xmlns:p14="http://schemas.microsoft.com/office/powerpoint/2010/main" val="2559509722"/>
      </p:ext>
    </p:extLst>
  </p:cSld>
  <p:clrMapOvr>
    <a:masterClrMapping/>
  </p:clrMapOvr>
  <mc:AlternateContent xmlns:mc="http://schemas.openxmlformats.org/markup-compatibility/2006" xmlns:p14="http://schemas.microsoft.com/office/powerpoint/2010/main">
    <mc:Choice Requires="p14">
      <p:transition spd="med" p14:dur="700" advClick="0" advTm="0">
        <p:fade/>
      </p:transition>
    </mc:Choice>
    <mc:Fallback xmlns="">
      <p:transition spd="med" advClick="0" advTm="0">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B4B7EC-8630-47A7-B2F5-E6043094D91C}"/>
              </a:ext>
            </a:extLst>
          </p:cNvPr>
          <p:cNvSpPr>
            <a:spLocks noGrp="1"/>
          </p:cNvSpPr>
          <p:nvPr>
            <p:ph type="title"/>
          </p:nvPr>
        </p:nvSpPr>
        <p:spPr/>
        <p:txBody>
          <a:bodyPr/>
          <a:lstStyle/>
          <a:p>
            <a:r>
              <a:rPr lang="en-GB" dirty="0"/>
              <a:t>Responding To Inappropriate Behaviour…</a:t>
            </a:r>
          </a:p>
        </p:txBody>
      </p:sp>
      <p:sp>
        <p:nvSpPr>
          <p:cNvPr id="3" name="Content Placeholder 2">
            <a:extLst>
              <a:ext uri="{FF2B5EF4-FFF2-40B4-BE49-F238E27FC236}">
                <a16:creationId xmlns:a16="http://schemas.microsoft.com/office/drawing/2014/main" id="{0402CFAE-F904-477F-A89A-630832026662}"/>
              </a:ext>
            </a:extLst>
          </p:cNvPr>
          <p:cNvSpPr>
            <a:spLocks noGrp="1"/>
          </p:cNvSpPr>
          <p:nvPr>
            <p:ph idx="1"/>
          </p:nvPr>
        </p:nvSpPr>
        <p:spPr>
          <a:xfrm>
            <a:off x="709180" y="1417320"/>
            <a:ext cx="7806170" cy="4759645"/>
          </a:xfrm>
        </p:spPr>
        <p:txBody>
          <a:bodyPr/>
          <a:lstStyle/>
          <a:p>
            <a:pPr marL="0" indent="0">
              <a:buNone/>
            </a:pPr>
            <a:r>
              <a:rPr lang="en-US" dirty="0"/>
              <a:t>Resources to help… (continued)</a:t>
            </a:r>
          </a:p>
          <a:p>
            <a:pPr marL="0" indent="0">
              <a:buNone/>
            </a:pPr>
            <a:endParaRPr lang="en-US" dirty="0"/>
          </a:p>
          <a:p>
            <a:r>
              <a:rPr lang="en-US" dirty="0"/>
              <a:t>The ethics hotline</a:t>
            </a:r>
          </a:p>
          <a:p>
            <a:pPr marL="0" indent="0">
              <a:buNone/>
            </a:pPr>
            <a:r>
              <a:rPr lang="en-US" sz="1600" dirty="0"/>
              <a:t>If you don't feel comfortable speaking to a supervisor at the company, you can call the ethics hotline. The hotline is staffed by operators who have been trained to receive employee reports and work with the company to address the issue.</a:t>
            </a:r>
          </a:p>
          <a:p>
            <a:pPr marL="0" indent="0">
              <a:buNone/>
            </a:pPr>
            <a:endParaRPr lang="en-US" dirty="0"/>
          </a:p>
          <a:p>
            <a:pPr marL="0" indent="0">
              <a:buNone/>
            </a:pPr>
            <a:endParaRPr lang="en-US" dirty="0"/>
          </a:p>
          <a:p>
            <a:endParaRPr lang="en-GB" dirty="0"/>
          </a:p>
        </p:txBody>
      </p:sp>
      <p:pic>
        <p:nvPicPr>
          <p:cNvPr id="5" name="Picture 4">
            <a:extLst>
              <a:ext uri="{FF2B5EF4-FFF2-40B4-BE49-F238E27FC236}">
                <a16:creationId xmlns:a16="http://schemas.microsoft.com/office/drawing/2014/main" id="{3157879A-C797-49A4-9A7F-EBF899258523}"/>
              </a:ext>
            </a:extLst>
          </p:cNvPr>
          <p:cNvPicPr>
            <a:picLocks noChangeAspect="1"/>
          </p:cNvPicPr>
          <p:nvPr/>
        </p:nvPicPr>
        <p:blipFill>
          <a:blip r:embed="rId2"/>
          <a:stretch>
            <a:fillRect/>
          </a:stretch>
        </p:blipFill>
        <p:spPr>
          <a:xfrm>
            <a:off x="1595005" y="3625306"/>
            <a:ext cx="7210425" cy="1952625"/>
          </a:xfrm>
          <a:prstGeom prst="rect">
            <a:avLst/>
          </a:prstGeom>
        </p:spPr>
      </p:pic>
    </p:spTree>
    <p:extLst>
      <p:ext uri="{BB962C8B-B14F-4D97-AF65-F5344CB8AC3E}">
        <p14:creationId xmlns:p14="http://schemas.microsoft.com/office/powerpoint/2010/main" val="1176477321"/>
      </p:ext>
    </p:extLst>
  </p:cSld>
  <p:clrMapOvr>
    <a:masterClrMapping/>
  </p:clrMapOvr>
  <mc:AlternateContent xmlns:mc="http://schemas.openxmlformats.org/markup-compatibility/2006" xmlns:p14="http://schemas.microsoft.com/office/powerpoint/2010/main">
    <mc:Choice Requires="p14">
      <p:transition spd="med" p14:dur="700" advClick="0" advTm="0">
        <p:fade/>
      </p:transition>
    </mc:Choice>
    <mc:Fallback xmlns="">
      <p:transition spd="med" advClick="0" advTm="0">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3414A5-B236-4CD9-8746-546433F26284}"/>
              </a:ext>
            </a:extLst>
          </p:cNvPr>
          <p:cNvSpPr>
            <a:spLocks noGrp="1"/>
          </p:cNvSpPr>
          <p:nvPr>
            <p:ph type="title"/>
          </p:nvPr>
        </p:nvSpPr>
        <p:spPr>
          <a:xfrm>
            <a:off x="483610" y="345441"/>
            <a:ext cx="8096250" cy="1213196"/>
          </a:xfrm>
        </p:spPr>
        <p:txBody>
          <a:bodyPr/>
          <a:lstStyle/>
          <a:p>
            <a:r>
              <a:rPr lang="en-GB" dirty="0"/>
              <a:t>Responding To Inappropriate Behaviour… </a:t>
            </a:r>
            <a:r>
              <a:rPr lang="en-GB" b="1" dirty="0"/>
              <a:t>QUESTION</a:t>
            </a:r>
          </a:p>
        </p:txBody>
      </p:sp>
      <p:sp>
        <p:nvSpPr>
          <p:cNvPr id="3" name="Content Placeholder 2">
            <a:extLst>
              <a:ext uri="{FF2B5EF4-FFF2-40B4-BE49-F238E27FC236}">
                <a16:creationId xmlns:a16="http://schemas.microsoft.com/office/drawing/2014/main" id="{1259B41F-C93B-4CBE-A4C4-263EE9BFEE4E}"/>
              </a:ext>
            </a:extLst>
          </p:cNvPr>
          <p:cNvSpPr>
            <a:spLocks noGrp="1"/>
          </p:cNvSpPr>
          <p:nvPr>
            <p:ph idx="1"/>
          </p:nvPr>
        </p:nvSpPr>
        <p:spPr>
          <a:xfrm>
            <a:off x="564140" y="1260112"/>
            <a:ext cx="7806170" cy="5252447"/>
          </a:xfrm>
        </p:spPr>
        <p:txBody>
          <a:bodyPr>
            <a:normAutofit/>
          </a:bodyPr>
          <a:lstStyle/>
          <a:p>
            <a:pPr marL="0" indent="0">
              <a:buNone/>
            </a:pPr>
            <a:r>
              <a:rPr lang="en-US" sz="1800" dirty="0"/>
              <a:t>A female employee’s coworker repeatedly makes comments about her appearance. At first, she was flattered, but then it started to bother her. She asked him to stop, but he didn’t. </a:t>
            </a:r>
          </a:p>
          <a:p>
            <a:pPr marL="0" indent="0">
              <a:buNone/>
            </a:pPr>
            <a:endParaRPr lang="en-US" sz="1800" dirty="0"/>
          </a:p>
          <a:p>
            <a:pPr marL="0" indent="0">
              <a:buNone/>
            </a:pPr>
            <a:r>
              <a:rPr lang="en-US" sz="1800" dirty="0"/>
              <a:t>The female employee spoke to her boss about the situation, but he said that if her coworker's comments weren't overtly sexual, it wasn't harassment, and she should learn to ignore it. </a:t>
            </a:r>
          </a:p>
          <a:p>
            <a:pPr marL="0" indent="0">
              <a:buNone/>
            </a:pPr>
            <a:endParaRPr lang="en-US" sz="1800" dirty="0"/>
          </a:p>
          <a:p>
            <a:pPr marL="0" indent="0">
              <a:buNone/>
            </a:pPr>
            <a:r>
              <a:rPr lang="en-US" sz="1800" dirty="0"/>
              <a:t>What mistakes were made in this scenario?</a:t>
            </a:r>
          </a:p>
          <a:p>
            <a:pPr marL="0" indent="0">
              <a:buNone/>
            </a:pPr>
            <a:endParaRPr lang="en-US" sz="1800" dirty="0"/>
          </a:p>
          <a:p>
            <a:pPr marL="0" indent="0">
              <a:buNone/>
            </a:pPr>
            <a:r>
              <a:rPr lang="en-US" sz="1800" dirty="0"/>
              <a:t>a) The employee felt flattered by her coworker's comments </a:t>
            </a:r>
          </a:p>
          <a:p>
            <a:pPr marL="0" indent="0">
              <a:buNone/>
            </a:pPr>
            <a:r>
              <a:rPr lang="en-US" sz="1800" dirty="0"/>
              <a:t>b) The coworker was acting inappropriately</a:t>
            </a:r>
          </a:p>
          <a:p>
            <a:pPr marL="0" indent="0">
              <a:buNone/>
            </a:pPr>
            <a:r>
              <a:rPr lang="en-US" sz="1800" dirty="0"/>
              <a:t>c) The coworker violated company policy</a:t>
            </a:r>
          </a:p>
          <a:p>
            <a:pPr marL="0" indent="0">
              <a:buNone/>
            </a:pPr>
            <a:r>
              <a:rPr lang="en-US" sz="1800" dirty="0"/>
              <a:t>d) The employee spoke to her boss about the situation</a:t>
            </a:r>
          </a:p>
          <a:p>
            <a:pPr marL="0" indent="0">
              <a:buNone/>
            </a:pPr>
            <a:r>
              <a:rPr lang="en-US" sz="1800" dirty="0"/>
              <a:t>e) The employee’s boss suggested she ignore the comments</a:t>
            </a:r>
            <a:endParaRPr lang="en-GB" sz="1800" dirty="0"/>
          </a:p>
        </p:txBody>
      </p:sp>
    </p:spTree>
    <p:extLst>
      <p:ext uri="{BB962C8B-B14F-4D97-AF65-F5344CB8AC3E}">
        <p14:creationId xmlns:p14="http://schemas.microsoft.com/office/powerpoint/2010/main" val="2428704379"/>
      </p:ext>
    </p:extLst>
  </p:cSld>
  <p:clrMapOvr>
    <a:masterClrMapping/>
  </p:clrMapOvr>
  <mc:AlternateContent xmlns:mc="http://schemas.openxmlformats.org/markup-compatibility/2006" xmlns:p14="http://schemas.microsoft.com/office/powerpoint/2010/main">
    <mc:Choice Requires="p14">
      <p:transition spd="med" p14:dur="700" advClick="0" advTm="0">
        <p:fade/>
      </p:transition>
    </mc:Choice>
    <mc:Fallback xmlns="">
      <p:transition spd="med" advClick="0" advTm="0">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766964-5C88-45B8-9497-D8DA21164C94}"/>
              </a:ext>
            </a:extLst>
          </p:cNvPr>
          <p:cNvSpPr>
            <a:spLocks noGrp="1"/>
          </p:cNvSpPr>
          <p:nvPr>
            <p:ph type="title"/>
          </p:nvPr>
        </p:nvSpPr>
        <p:spPr/>
        <p:txBody>
          <a:bodyPr/>
          <a:lstStyle/>
          <a:p>
            <a:r>
              <a:rPr lang="en-GB" dirty="0"/>
              <a:t>Responding To Inappropriate Behaviour… </a:t>
            </a:r>
            <a:r>
              <a:rPr lang="en-GB" b="1" dirty="0"/>
              <a:t>ANSWER</a:t>
            </a:r>
            <a:endParaRPr lang="en-GB" dirty="0"/>
          </a:p>
        </p:txBody>
      </p:sp>
      <p:sp>
        <p:nvSpPr>
          <p:cNvPr id="3" name="Content Placeholder 2">
            <a:extLst>
              <a:ext uri="{FF2B5EF4-FFF2-40B4-BE49-F238E27FC236}">
                <a16:creationId xmlns:a16="http://schemas.microsoft.com/office/drawing/2014/main" id="{D35BE0A7-6E64-456E-A909-A1BA112E8E52}"/>
              </a:ext>
            </a:extLst>
          </p:cNvPr>
          <p:cNvSpPr>
            <a:spLocks noGrp="1"/>
          </p:cNvSpPr>
          <p:nvPr>
            <p:ph idx="1"/>
          </p:nvPr>
        </p:nvSpPr>
        <p:spPr/>
        <p:txBody>
          <a:bodyPr/>
          <a:lstStyle/>
          <a:p>
            <a:endParaRPr lang="en-US" dirty="0"/>
          </a:p>
          <a:p>
            <a:pPr marL="0" indent="0">
              <a:buNone/>
            </a:pPr>
            <a:r>
              <a:rPr lang="en-US" sz="2500" b="1" dirty="0"/>
              <a:t>b), c) and e)</a:t>
            </a:r>
          </a:p>
          <a:p>
            <a:pPr marL="0" indent="0">
              <a:buNone/>
            </a:pPr>
            <a:endParaRPr lang="en-US" dirty="0"/>
          </a:p>
          <a:p>
            <a:r>
              <a:rPr lang="en-US" dirty="0"/>
              <a:t>The female employee’s coworker has acted inappropriately, especially after she asked him to stop and he did not. His behavior is a violation of company policy. </a:t>
            </a:r>
          </a:p>
          <a:p>
            <a:pPr marL="0" indent="0">
              <a:buNone/>
            </a:pPr>
            <a:endParaRPr lang="en-US" dirty="0"/>
          </a:p>
          <a:p>
            <a:r>
              <a:rPr lang="en-US" dirty="0"/>
              <a:t>The female employee’s boss was wrong to say she should ignore it. It's not his responsibility to judge whether something is or is not harassment, particularly if it's making her uncomfortable.</a:t>
            </a:r>
          </a:p>
          <a:p>
            <a:endParaRPr lang="en-GB" dirty="0"/>
          </a:p>
        </p:txBody>
      </p:sp>
    </p:spTree>
    <p:extLst>
      <p:ext uri="{BB962C8B-B14F-4D97-AF65-F5344CB8AC3E}">
        <p14:creationId xmlns:p14="http://schemas.microsoft.com/office/powerpoint/2010/main" val="2243959287"/>
      </p:ext>
    </p:extLst>
  </p:cSld>
  <p:clrMapOvr>
    <a:masterClrMapping/>
  </p:clrMapOvr>
  <mc:AlternateContent xmlns:mc="http://schemas.openxmlformats.org/markup-compatibility/2006" xmlns:p14="http://schemas.microsoft.com/office/powerpoint/2010/main">
    <mc:Choice Requires="p14">
      <p:transition spd="med" p14:dur="700" advClick="0" advTm="0">
        <p:fade/>
      </p:transition>
    </mc:Choice>
    <mc:Fallback xmlns="">
      <p:transition spd="med" advClick="0" advTm="0">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b="1" dirty="0"/>
              <a:t>Creating a Safe Environment</a:t>
            </a:r>
          </a:p>
        </p:txBody>
      </p:sp>
    </p:spTree>
    <p:extLst>
      <p:ext uri="{BB962C8B-B14F-4D97-AF65-F5344CB8AC3E}">
        <p14:creationId xmlns:p14="http://schemas.microsoft.com/office/powerpoint/2010/main" val="789223132"/>
      </p:ext>
    </p:extLst>
  </p:cSld>
  <p:clrMapOvr>
    <a:masterClrMapping/>
  </p:clrMapOvr>
  <p:transition spd="med">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5B19E6-2ECF-41EA-BEDD-2C9D74E9A941}"/>
              </a:ext>
            </a:extLst>
          </p:cNvPr>
          <p:cNvSpPr>
            <a:spLocks noGrp="1"/>
          </p:cNvSpPr>
          <p:nvPr>
            <p:ph type="title"/>
          </p:nvPr>
        </p:nvSpPr>
        <p:spPr/>
        <p:txBody>
          <a:bodyPr/>
          <a:lstStyle/>
          <a:p>
            <a:r>
              <a:rPr lang="en-GB" dirty="0"/>
              <a:t>Creating a Safe Environment…</a:t>
            </a:r>
          </a:p>
        </p:txBody>
      </p:sp>
      <p:sp>
        <p:nvSpPr>
          <p:cNvPr id="3" name="Content Placeholder 2">
            <a:extLst>
              <a:ext uri="{FF2B5EF4-FFF2-40B4-BE49-F238E27FC236}">
                <a16:creationId xmlns:a16="http://schemas.microsoft.com/office/drawing/2014/main" id="{0A42AF05-46A0-441A-B63A-CCAF6F74CBC7}"/>
              </a:ext>
            </a:extLst>
          </p:cNvPr>
          <p:cNvSpPr>
            <a:spLocks noGrp="1"/>
          </p:cNvSpPr>
          <p:nvPr>
            <p:ph idx="1"/>
          </p:nvPr>
        </p:nvSpPr>
        <p:spPr>
          <a:xfrm>
            <a:off x="668915" y="1424521"/>
            <a:ext cx="7806170" cy="4508445"/>
          </a:xfrm>
        </p:spPr>
        <p:txBody>
          <a:bodyPr>
            <a:normAutofit/>
          </a:bodyPr>
          <a:lstStyle/>
          <a:p>
            <a:pPr marL="0" indent="0">
              <a:buNone/>
            </a:pPr>
            <a:r>
              <a:rPr lang="en-US" u="sng" dirty="0"/>
              <a:t>Reporting Misconduct</a:t>
            </a:r>
          </a:p>
          <a:p>
            <a:pPr marL="0" indent="0">
              <a:buNone/>
            </a:pPr>
            <a:endParaRPr lang="en-US" dirty="0"/>
          </a:p>
          <a:p>
            <a:r>
              <a:rPr lang="en-US" dirty="0"/>
              <a:t>Reporting misconduct, inappropriate </a:t>
            </a:r>
            <a:r>
              <a:rPr lang="en-US" dirty="0" err="1"/>
              <a:t>behaviour</a:t>
            </a:r>
            <a:r>
              <a:rPr lang="en-US" dirty="0"/>
              <a:t>, or other violations of the Values and Expectations of 168 is key to making our policies work and maintaining mutual respect in our workplace.</a:t>
            </a:r>
          </a:p>
          <a:p>
            <a:pPr marL="0" indent="0">
              <a:buNone/>
            </a:pPr>
            <a:endParaRPr lang="en-US" dirty="0"/>
          </a:p>
          <a:p>
            <a:r>
              <a:rPr lang="en-US" dirty="0"/>
              <a:t>We depend on all our employees to report concerns, but we also want our employees to feel safe doing it. </a:t>
            </a:r>
          </a:p>
          <a:p>
            <a:pPr marL="0" indent="0">
              <a:buNone/>
            </a:pPr>
            <a:endParaRPr lang="en-US" dirty="0"/>
          </a:p>
          <a:p>
            <a:r>
              <a:rPr lang="en-US" dirty="0"/>
              <a:t>If you think someone is acting in a way that violates RPM policy, be assured that there is absolutely no risk to your job in reporting it. </a:t>
            </a:r>
          </a:p>
          <a:p>
            <a:endParaRPr lang="en-GB" dirty="0"/>
          </a:p>
        </p:txBody>
      </p:sp>
    </p:spTree>
    <p:extLst>
      <p:ext uri="{BB962C8B-B14F-4D97-AF65-F5344CB8AC3E}">
        <p14:creationId xmlns:p14="http://schemas.microsoft.com/office/powerpoint/2010/main" val="2064959559"/>
      </p:ext>
    </p:extLst>
  </p:cSld>
  <p:clrMapOvr>
    <a:masterClrMapping/>
  </p:clrMapOvr>
  <mc:AlternateContent xmlns:mc="http://schemas.openxmlformats.org/markup-compatibility/2006" xmlns:p14="http://schemas.microsoft.com/office/powerpoint/2010/main">
    <mc:Choice Requires="p14">
      <p:transition spd="med" p14:dur="700" advClick="0" advTm="0">
        <p:fade/>
      </p:transition>
    </mc:Choice>
    <mc:Fallback xmlns="">
      <p:transition spd="med" advClick="0" advTm="0">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491849-CE1E-43E2-950F-5B27AB36C250}"/>
              </a:ext>
            </a:extLst>
          </p:cNvPr>
          <p:cNvSpPr>
            <a:spLocks noGrp="1"/>
          </p:cNvSpPr>
          <p:nvPr>
            <p:ph type="title"/>
          </p:nvPr>
        </p:nvSpPr>
        <p:spPr>
          <a:xfrm>
            <a:off x="419100" y="354584"/>
            <a:ext cx="8096250" cy="1213196"/>
          </a:xfrm>
        </p:spPr>
        <p:txBody>
          <a:bodyPr/>
          <a:lstStyle/>
          <a:p>
            <a:r>
              <a:rPr lang="en-GB" dirty="0"/>
              <a:t>Creating a Safe Environment…</a:t>
            </a:r>
          </a:p>
        </p:txBody>
      </p:sp>
      <p:sp>
        <p:nvSpPr>
          <p:cNvPr id="3" name="Content Placeholder 2">
            <a:extLst>
              <a:ext uri="{FF2B5EF4-FFF2-40B4-BE49-F238E27FC236}">
                <a16:creationId xmlns:a16="http://schemas.microsoft.com/office/drawing/2014/main" id="{815A6EFC-BC88-4A41-9644-F6BC0FBCA8BF}"/>
              </a:ext>
            </a:extLst>
          </p:cNvPr>
          <p:cNvSpPr>
            <a:spLocks noGrp="1"/>
          </p:cNvSpPr>
          <p:nvPr>
            <p:ph idx="1"/>
          </p:nvPr>
        </p:nvSpPr>
        <p:spPr>
          <a:xfrm>
            <a:off x="709180" y="1260113"/>
            <a:ext cx="7806170" cy="4337774"/>
          </a:xfrm>
        </p:spPr>
        <p:txBody>
          <a:bodyPr/>
          <a:lstStyle/>
          <a:p>
            <a:pPr marL="0" indent="0">
              <a:buNone/>
            </a:pPr>
            <a:r>
              <a:rPr lang="en-GB" u="sng" dirty="0"/>
              <a:t>Reporting Misconduct (continued)…</a:t>
            </a:r>
          </a:p>
          <a:p>
            <a:pPr marL="0" indent="0">
              <a:buNone/>
            </a:pPr>
            <a:endParaRPr lang="en-GB" dirty="0"/>
          </a:p>
          <a:p>
            <a:r>
              <a:rPr lang="en-US" dirty="0"/>
              <a:t>RPM strictly prohibits anyone from retaliating against you for making a report or participating in an investigation.</a:t>
            </a:r>
          </a:p>
          <a:p>
            <a:pPr marL="0" indent="0">
              <a:buNone/>
            </a:pPr>
            <a:r>
              <a:rPr lang="en-US" dirty="0"/>
              <a:t> </a:t>
            </a:r>
          </a:p>
          <a:p>
            <a:r>
              <a:rPr lang="en-US" dirty="0"/>
              <a:t>This is true even if your concern turns out to be incorrect, as long as you made the report in good faith. </a:t>
            </a:r>
          </a:p>
          <a:p>
            <a:pPr marL="0" indent="0">
              <a:buNone/>
            </a:pPr>
            <a:endParaRPr lang="en-US" dirty="0"/>
          </a:p>
          <a:p>
            <a:r>
              <a:rPr lang="en-US" dirty="0"/>
              <a:t>No one should be treated differently as a result of reporting misconduct, and we fully support our employees who take action in response to their concerns.</a:t>
            </a:r>
          </a:p>
          <a:p>
            <a:pPr marL="0" indent="0">
              <a:buNone/>
            </a:pPr>
            <a:endParaRPr lang="en-GB" dirty="0"/>
          </a:p>
        </p:txBody>
      </p:sp>
      <p:pic>
        <p:nvPicPr>
          <p:cNvPr id="4" name="Picture 3">
            <a:extLst>
              <a:ext uri="{FF2B5EF4-FFF2-40B4-BE49-F238E27FC236}">
                <a16:creationId xmlns:a16="http://schemas.microsoft.com/office/drawing/2014/main" id="{C8FC1991-889D-47A0-BD25-50BD933E19FB}"/>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770828" y="5201264"/>
            <a:ext cx="793245" cy="793245"/>
          </a:xfrm>
          <a:prstGeom prst="rect">
            <a:avLst/>
          </a:prstGeom>
        </p:spPr>
      </p:pic>
      <p:pic>
        <p:nvPicPr>
          <p:cNvPr id="5" name="Picture 4">
            <a:extLst>
              <a:ext uri="{FF2B5EF4-FFF2-40B4-BE49-F238E27FC236}">
                <a16:creationId xmlns:a16="http://schemas.microsoft.com/office/drawing/2014/main" id="{F261ECC4-FDC8-4AF0-90BB-E2C3B0D07A5D}"/>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278880" y="5294421"/>
            <a:ext cx="990600" cy="700088"/>
          </a:xfrm>
          <a:prstGeom prst="rect">
            <a:avLst/>
          </a:prstGeom>
        </p:spPr>
      </p:pic>
    </p:spTree>
    <p:extLst>
      <p:ext uri="{BB962C8B-B14F-4D97-AF65-F5344CB8AC3E}">
        <p14:creationId xmlns:p14="http://schemas.microsoft.com/office/powerpoint/2010/main" val="2269722444"/>
      </p:ext>
    </p:extLst>
  </p:cSld>
  <p:clrMapOvr>
    <a:masterClrMapping/>
  </p:clrMapOvr>
  <mc:AlternateContent xmlns:mc="http://schemas.openxmlformats.org/markup-compatibility/2006" xmlns:p14="http://schemas.microsoft.com/office/powerpoint/2010/main">
    <mc:Choice Requires="p14">
      <p:transition spd="med" p14:dur="700" advClick="0" advTm="0">
        <p:fade/>
      </p:transition>
    </mc:Choice>
    <mc:Fallback xmlns="">
      <p:transition spd="med" advClick="0" advTm="0">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resentation Summary </a:t>
            </a:r>
          </a:p>
        </p:txBody>
      </p:sp>
      <p:sp>
        <p:nvSpPr>
          <p:cNvPr id="3" name="Content Placeholder 2"/>
          <p:cNvSpPr>
            <a:spLocks noGrp="1"/>
          </p:cNvSpPr>
          <p:nvPr>
            <p:ph idx="1"/>
          </p:nvPr>
        </p:nvSpPr>
        <p:spPr/>
        <p:txBody>
          <a:bodyPr/>
          <a:lstStyle/>
          <a:p>
            <a:endParaRPr lang="en-US" dirty="0"/>
          </a:p>
          <a:p>
            <a:endParaRPr lang="en-US" dirty="0"/>
          </a:p>
        </p:txBody>
      </p:sp>
      <p:sp>
        <p:nvSpPr>
          <p:cNvPr id="5" name="Footer Placeholder 4"/>
          <p:cNvSpPr>
            <a:spLocks noGrp="1"/>
          </p:cNvSpPr>
          <p:nvPr>
            <p:ph type="ftr" sz="quarter" idx="3"/>
          </p:nvPr>
        </p:nvSpPr>
        <p:spPr/>
        <p:txBody>
          <a:bodyPr/>
          <a:lstStyle/>
          <a:p>
            <a:r>
              <a:rPr lang="en-US" dirty="0"/>
              <a:t>RPM International Inc.</a:t>
            </a:r>
          </a:p>
        </p:txBody>
      </p:sp>
      <p:sp>
        <p:nvSpPr>
          <p:cNvPr id="6" name="TextBox 5">
            <a:extLst>
              <a:ext uri="{FF2B5EF4-FFF2-40B4-BE49-F238E27FC236}">
                <a16:creationId xmlns:a16="http://schemas.microsoft.com/office/drawing/2014/main" id="{7E0856F1-71B6-4E2F-B0A2-52A93FCC498B}"/>
              </a:ext>
            </a:extLst>
          </p:cNvPr>
          <p:cNvSpPr txBox="1"/>
          <p:nvPr/>
        </p:nvSpPr>
        <p:spPr>
          <a:xfrm>
            <a:off x="628650" y="1408858"/>
            <a:ext cx="8022815" cy="4616648"/>
          </a:xfrm>
          <a:prstGeom prst="rect">
            <a:avLst/>
          </a:prstGeom>
          <a:noFill/>
        </p:spPr>
        <p:txBody>
          <a:bodyPr wrap="square" rtlCol="0">
            <a:spAutoFit/>
          </a:bodyPr>
          <a:lstStyle/>
          <a:p>
            <a:pPr marL="214313" indent="-214313">
              <a:buFont typeface="Arial" panose="020B0604020202020204" pitchFamily="34" charset="0"/>
              <a:buChar char="•"/>
            </a:pPr>
            <a:r>
              <a:rPr lang="en-US" sz="2100" dirty="0"/>
              <a:t>Introduction</a:t>
            </a:r>
          </a:p>
          <a:p>
            <a:pPr marL="214313" indent="-214313">
              <a:buFont typeface="Arial" panose="020B0604020202020204" pitchFamily="34" charset="0"/>
              <a:buChar char="•"/>
            </a:pPr>
            <a:endParaRPr lang="en-US" sz="2100" dirty="0"/>
          </a:p>
          <a:p>
            <a:pPr marL="214313" indent="-214313">
              <a:buFont typeface="Arial" panose="020B0604020202020204" pitchFamily="34" charset="0"/>
              <a:buChar char="•"/>
            </a:pPr>
            <a:r>
              <a:rPr lang="en-US" sz="2100" dirty="0" err="1"/>
              <a:t>Recognising</a:t>
            </a:r>
            <a:r>
              <a:rPr lang="en-US" sz="2100" dirty="0"/>
              <a:t> Prohibited </a:t>
            </a:r>
            <a:r>
              <a:rPr lang="en-US" sz="2100" dirty="0" err="1"/>
              <a:t>Behaviour</a:t>
            </a:r>
            <a:endParaRPr lang="en-US" sz="2100" dirty="0"/>
          </a:p>
          <a:p>
            <a:pPr marL="214313" indent="-214313">
              <a:buFont typeface="Arial" panose="020B0604020202020204" pitchFamily="34" charset="0"/>
              <a:buChar char="•"/>
            </a:pPr>
            <a:endParaRPr lang="en-US" sz="2100" dirty="0"/>
          </a:p>
          <a:p>
            <a:pPr marL="214313" indent="-214313">
              <a:buFont typeface="Arial" panose="020B0604020202020204" pitchFamily="34" charset="0"/>
              <a:buChar char="•"/>
            </a:pPr>
            <a:r>
              <a:rPr lang="en-US" sz="2100" dirty="0"/>
              <a:t>Responding to Inappropriate </a:t>
            </a:r>
            <a:r>
              <a:rPr lang="en-US" sz="2100" dirty="0" err="1"/>
              <a:t>Behaviour</a:t>
            </a:r>
            <a:endParaRPr lang="en-US" sz="2100" dirty="0"/>
          </a:p>
          <a:p>
            <a:pPr marL="214313" indent="-214313">
              <a:buFont typeface="Arial" panose="020B0604020202020204" pitchFamily="34" charset="0"/>
              <a:buChar char="•"/>
            </a:pPr>
            <a:endParaRPr lang="en-US" sz="2100" dirty="0"/>
          </a:p>
          <a:p>
            <a:pPr marL="214313" indent="-214313">
              <a:buFont typeface="Arial" panose="020B0604020202020204" pitchFamily="34" charset="0"/>
              <a:buChar char="•"/>
            </a:pPr>
            <a:r>
              <a:rPr lang="en-US" sz="2100" dirty="0"/>
              <a:t>Creating a Safe Environment</a:t>
            </a:r>
          </a:p>
          <a:p>
            <a:pPr marL="214313" indent="-214313">
              <a:buFont typeface="Arial" panose="020B0604020202020204" pitchFamily="34" charset="0"/>
              <a:buChar char="•"/>
            </a:pPr>
            <a:endParaRPr lang="en-US" sz="2100" dirty="0"/>
          </a:p>
          <a:p>
            <a:pPr marL="214313" indent="-214313">
              <a:buFont typeface="Arial" panose="020B0604020202020204" pitchFamily="34" charset="0"/>
              <a:buChar char="•"/>
            </a:pPr>
            <a:r>
              <a:rPr lang="en-US" sz="2100" dirty="0"/>
              <a:t>Sexual Harassment Outside of Work: It’s Still Sexual Harassment</a:t>
            </a:r>
          </a:p>
          <a:p>
            <a:pPr marL="214313" indent="-214313">
              <a:buFont typeface="Arial" panose="020B0604020202020204" pitchFamily="34" charset="0"/>
              <a:buChar char="•"/>
            </a:pPr>
            <a:endParaRPr lang="en-US" sz="2100" dirty="0"/>
          </a:p>
          <a:p>
            <a:pPr marL="214313" indent="-214313">
              <a:buFont typeface="Arial" panose="020B0604020202020204" pitchFamily="34" charset="0"/>
              <a:buChar char="•"/>
            </a:pPr>
            <a:r>
              <a:rPr lang="en-US" sz="2100" dirty="0"/>
              <a:t>Summary and Scenarios</a:t>
            </a:r>
          </a:p>
          <a:p>
            <a:pPr marL="214313" indent="-214313">
              <a:buFont typeface="Arial" panose="020B0604020202020204" pitchFamily="34" charset="0"/>
              <a:buChar char="•"/>
            </a:pPr>
            <a:endParaRPr lang="en-US" sz="2100" dirty="0"/>
          </a:p>
          <a:p>
            <a:pPr marL="214313" indent="-214313">
              <a:buFont typeface="Arial" panose="020B0604020202020204" pitchFamily="34" charset="0"/>
              <a:buChar char="•"/>
            </a:pPr>
            <a:r>
              <a:rPr lang="en-US" sz="2100" dirty="0"/>
              <a:t>The Hotline</a:t>
            </a:r>
          </a:p>
          <a:p>
            <a:pPr marL="214313" indent="-214313">
              <a:buFont typeface="Arial" panose="020B0604020202020204" pitchFamily="34" charset="0"/>
              <a:buChar char="•"/>
            </a:pPr>
            <a:endParaRPr lang="en-US" sz="2100" dirty="0"/>
          </a:p>
        </p:txBody>
      </p:sp>
    </p:spTree>
    <p:extLst>
      <p:ext uri="{BB962C8B-B14F-4D97-AF65-F5344CB8AC3E}">
        <p14:creationId xmlns:p14="http://schemas.microsoft.com/office/powerpoint/2010/main" val="4270969295"/>
      </p:ext>
    </p:extLst>
  </p:cSld>
  <p:clrMapOvr>
    <a:masterClrMapping/>
  </p:clrMapOvr>
  <mc:AlternateContent xmlns:mc="http://schemas.openxmlformats.org/markup-compatibility/2006" xmlns:p14="http://schemas.microsoft.com/office/powerpoint/2010/main">
    <mc:Choice Requires="p14">
      <p:transition spd="med" p14:dur="700" advClick="0" advTm="0">
        <p:fade/>
      </p:transition>
    </mc:Choice>
    <mc:Fallback xmlns="">
      <p:transition spd="med" advClick="0" advTm="0">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315D03-717A-4A84-8BC8-34B47EC6CE2C}"/>
              </a:ext>
            </a:extLst>
          </p:cNvPr>
          <p:cNvSpPr>
            <a:spLocks noGrp="1"/>
          </p:cNvSpPr>
          <p:nvPr>
            <p:ph type="title"/>
          </p:nvPr>
        </p:nvSpPr>
        <p:spPr/>
        <p:txBody>
          <a:bodyPr/>
          <a:lstStyle/>
          <a:p>
            <a:r>
              <a:rPr lang="en-GB" dirty="0"/>
              <a:t>Creating a Safe Environment… </a:t>
            </a:r>
            <a:r>
              <a:rPr lang="en-GB" b="1" dirty="0"/>
              <a:t>QUESTION</a:t>
            </a:r>
          </a:p>
        </p:txBody>
      </p:sp>
      <p:sp>
        <p:nvSpPr>
          <p:cNvPr id="3" name="Content Placeholder 2">
            <a:extLst>
              <a:ext uri="{FF2B5EF4-FFF2-40B4-BE49-F238E27FC236}">
                <a16:creationId xmlns:a16="http://schemas.microsoft.com/office/drawing/2014/main" id="{F8CB0062-B5BE-498C-866C-07ED1F43C3C4}"/>
              </a:ext>
            </a:extLst>
          </p:cNvPr>
          <p:cNvSpPr>
            <a:spLocks noGrp="1"/>
          </p:cNvSpPr>
          <p:nvPr>
            <p:ph idx="1"/>
          </p:nvPr>
        </p:nvSpPr>
        <p:spPr>
          <a:xfrm>
            <a:off x="564140" y="1456419"/>
            <a:ext cx="7806170" cy="4337774"/>
          </a:xfrm>
        </p:spPr>
        <p:txBody>
          <a:bodyPr/>
          <a:lstStyle/>
          <a:p>
            <a:pPr marL="0" indent="0">
              <a:buNone/>
            </a:pPr>
            <a:r>
              <a:rPr lang="en-US" dirty="0"/>
              <a:t>Which of the following situations could be considered retaliation?</a:t>
            </a:r>
          </a:p>
          <a:p>
            <a:pPr marL="0" indent="0">
              <a:buNone/>
            </a:pPr>
            <a:endParaRPr lang="en-US" dirty="0"/>
          </a:p>
          <a:p>
            <a:pPr marL="457200" indent="-457200">
              <a:buAutoNum type="alphaLcParenR"/>
            </a:pPr>
            <a:r>
              <a:rPr lang="en-US" dirty="0"/>
              <a:t>An employee tells her manager she thinks a colleague is sexually harassing her; her manager then transfers her to a different department where she won't have contact with the harasser. </a:t>
            </a:r>
          </a:p>
          <a:p>
            <a:pPr marL="457200" indent="-457200">
              <a:buAutoNum type="alphaLcParenR"/>
            </a:pPr>
            <a:r>
              <a:rPr lang="en-US" dirty="0"/>
              <a:t>An employee makes a complaint about having to hold a client meeting at a strip club; later, he is taken off the account.</a:t>
            </a:r>
          </a:p>
          <a:p>
            <a:pPr marL="457200" indent="-457200">
              <a:buAutoNum type="alphaLcParenR"/>
            </a:pPr>
            <a:r>
              <a:rPr lang="en-US" dirty="0"/>
              <a:t>An employee makes a report about her boss' frequent romantic advances; three weeks later, her position is eliminated.</a:t>
            </a:r>
          </a:p>
          <a:p>
            <a:pPr marL="457200" indent="-457200">
              <a:buAutoNum type="alphaLcParenR"/>
            </a:pPr>
            <a:r>
              <a:rPr lang="en-US" dirty="0"/>
              <a:t>An employee has a confrontation with a coworker at a meeting; afterwards, the coworker refuses to acknowledge him in the hallway.</a:t>
            </a:r>
          </a:p>
          <a:p>
            <a:endParaRPr lang="en-GB" dirty="0"/>
          </a:p>
        </p:txBody>
      </p:sp>
    </p:spTree>
    <p:extLst>
      <p:ext uri="{BB962C8B-B14F-4D97-AF65-F5344CB8AC3E}">
        <p14:creationId xmlns:p14="http://schemas.microsoft.com/office/powerpoint/2010/main" val="644671148"/>
      </p:ext>
    </p:extLst>
  </p:cSld>
  <p:clrMapOvr>
    <a:masterClrMapping/>
  </p:clrMapOvr>
  <mc:AlternateContent xmlns:mc="http://schemas.openxmlformats.org/markup-compatibility/2006" xmlns:p14="http://schemas.microsoft.com/office/powerpoint/2010/main">
    <mc:Choice Requires="p14">
      <p:transition spd="med" p14:dur="700" advClick="0" advTm="0">
        <p:fade/>
      </p:transition>
    </mc:Choice>
    <mc:Fallback xmlns="">
      <p:transition spd="med" advClick="0" advTm="0">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3B3140-DEC1-470E-B515-21B41D7DBF24}"/>
              </a:ext>
            </a:extLst>
          </p:cNvPr>
          <p:cNvSpPr>
            <a:spLocks noGrp="1"/>
          </p:cNvSpPr>
          <p:nvPr>
            <p:ph type="title"/>
          </p:nvPr>
        </p:nvSpPr>
        <p:spPr/>
        <p:txBody>
          <a:bodyPr/>
          <a:lstStyle/>
          <a:p>
            <a:r>
              <a:rPr lang="en-GB" dirty="0"/>
              <a:t>Creating a Safe Environment… </a:t>
            </a:r>
            <a:r>
              <a:rPr lang="en-GB" b="1" dirty="0"/>
              <a:t>ANSWER</a:t>
            </a:r>
            <a:endParaRPr lang="en-GB" dirty="0"/>
          </a:p>
        </p:txBody>
      </p:sp>
      <p:sp>
        <p:nvSpPr>
          <p:cNvPr id="3" name="Content Placeholder 2">
            <a:extLst>
              <a:ext uri="{FF2B5EF4-FFF2-40B4-BE49-F238E27FC236}">
                <a16:creationId xmlns:a16="http://schemas.microsoft.com/office/drawing/2014/main" id="{19794C33-1205-4B6A-86F1-D27448A52C7E}"/>
              </a:ext>
            </a:extLst>
          </p:cNvPr>
          <p:cNvSpPr>
            <a:spLocks noGrp="1"/>
          </p:cNvSpPr>
          <p:nvPr>
            <p:ph idx="1"/>
          </p:nvPr>
        </p:nvSpPr>
        <p:spPr/>
        <p:txBody>
          <a:bodyPr/>
          <a:lstStyle/>
          <a:p>
            <a:pPr marL="0" indent="0">
              <a:buNone/>
            </a:pPr>
            <a:endParaRPr lang="en-US" dirty="0"/>
          </a:p>
          <a:p>
            <a:pPr marL="0" indent="0">
              <a:buNone/>
            </a:pPr>
            <a:endParaRPr lang="en-US" dirty="0"/>
          </a:p>
          <a:p>
            <a:pPr marL="0" indent="0">
              <a:buNone/>
            </a:pPr>
            <a:r>
              <a:rPr lang="en-US" sz="2500" b="1" dirty="0"/>
              <a:t>a), b) and c)</a:t>
            </a:r>
          </a:p>
          <a:p>
            <a:endParaRPr lang="en-US" dirty="0"/>
          </a:p>
          <a:p>
            <a:r>
              <a:rPr lang="en-US" dirty="0"/>
              <a:t>Retaliation happens when adverse action is taken against someone after making a report to the company. Other types of actions may be inappropriate or unkind, but in order to rise to the level of retaliation, they must be undertaken as the result of a report or complaint, made in good faith, regarding perceived harassment or discrimination.</a:t>
            </a:r>
            <a:endParaRPr lang="en-GB" dirty="0"/>
          </a:p>
        </p:txBody>
      </p:sp>
    </p:spTree>
    <p:extLst>
      <p:ext uri="{BB962C8B-B14F-4D97-AF65-F5344CB8AC3E}">
        <p14:creationId xmlns:p14="http://schemas.microsoft.com/office/powerpoint/2010/main" val="3896501109"/>
      </p:ext>
    </p:extLst>
  </p:cSld>
  <p:clrMapOvr>
    <a:masterClrMapping/>
  </p:clrMapOvr>
  <mc:AlternateContent xmlns:mc="http://schemas.openxmlformats.org/markup-compatibility/2006" xmlns:p14="http://schemas.microsoft.com/office/powerpoint/2010/main">
    <mc:Choice Requires="p14">
      <p:transition spd="med" p14:dur="700" advClick="0" advTm="0">
        <p:fade/>
      </p:transition>
    </mc:Choice>
    <mc:Fallback xmlns="">
      <p:transition spd="med" advClick="0" advTm="0">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9D665B-B113-4166-9A1F-E8D1F8BF97CA}"/>
              </a:ext>
            </a:extLst>
          </p:cNvPr>
          <p:cNvSpPr>
            <a:spLocks noGrp="1"/>
          </p:cNvSpPr>
          <p:nvPr>
            <p:ph type="title"/>
          </p:nvPr>
        </p:nvSpPr>
        <p:spPr/>
        <p:txBody>
          <a:bodyPr/>
          <a:lstStyle/>
          <a:p>
            <a:r>
              <a:rPr lang="en-GB" dirty="0"/>
              <a:t>Creating a Safe Environment</a:t>
            </a:r>
          </a:p>
        </p:txBody>
      </p:sp>
      <p:sp>
        <p:nvSpPr>
          <p:cNvPr id="3" name="Content Placeholder 2">
            <a:extLst>
              <a:ext uri="{FF2B5EF4-FFF2-40B4-BE49-F238E27FC236}">
                <a16:creationId xmlns:a16="http://schemas.microsoft.com/office/drawing/2014/main" id="{4A8ACF9B-4397-4CD5-BFEF-585F46E93042}"/>
              </a:ext>
            </a:extLst>
          </p:cNvPr>
          <p:cNvSpPr>
            <a:spLocks noGrp="1"/>
          </p:cNvSpPr>
          <p:nvPr>
            <p:ph idx="1"/>
          </p:nvPr>
        </p:nvSpPr>
        <p:spPr>
          <a:xfrm>
            <a:off x="709180" y="1244008"/>
            <a:ext cx="7806170" cy="5268551"/>
          </a:xfrm>
        </p:spPr>
        <p:txBody>
          <a:bodyPr>
            <a:normAutofit/>
          </a:bodyPr>
          <a:lstStyle/>
          <a:p>
            <a:pPr marL="0" indent="0">
              <a:buNone/>
            </a:pPr>
            <a:r>
              <a:rPr lang="en-US" u="sng" dirty="0" err="1"/>
              <a:t>Recognising</a:t>
            </a:r>
            <a:r>
              <a:rPr lang="en-US" u="sng" dirty="0"/>
              <a:t> Retaliation</a:t>
            </a:r>
          </a:p>
          <a:p>
            <a:pPr marL="0" indent="0">
              <a:buNone/>
            </a:pPr>
            <a:endParaRPr lang="en-US" dirty="0"/>
          </a:p>
          <a:p>
            <a:pPr marL="0" indent="0">
              <a:buNone/>
            </a:pPr>
            <a:r>
              <a:rPr lang="en-US" dirty="0"/>
              <a:t>We are all responsible for creating an environment of mutual respect where it is safe to report misconduct. RPM strictly forbids retaliation and will discipline anyone who engages in it.</a:t>
            </a:r>
          </a:p>
          <a:p>
            <a:endParaRPr lang="en-US" dirty="0"/>
          </a:p>
          <a:p>
            <a:pPr marL="0" indent="0">
              <a:buNone/>
            </a:pPr>
            <a:r>
              <a:rPr lang="en-US" dirty="0"/>
              <a:t>What is retaliation?</a:t>
            </a:r>
          </a:p>
          <a:p>
            <a:pPr marL="0" indent="0">
              <a:buNone/>
            </a:pPr>
            <a:endParaRPr lang="en-US" dirty="0"/>
          </a:p>
          <a:p>
            <a:r>
              <a:rPr lang="en-US" dirty="0"/>
              <a:t>Legally, retaliation means taking adverse action against an employee because that person filed a complaint, lawsuit or took part in an investigation of discriminatory or harassing conduct.</a:t>
            </a:r>
          </a:p>
        </p:txBody>
      </p:sp>
      <p:pic>
        <p:nvPicPr>
          <p:cNvPr id="5" name="Picture 4" descr="A picture containing clock&#10;&#10;Description automatically generated">
            <a:extLst>
              <a:ext uri="{FF2B5EF4-FFF2-40B4-BE49-F238E27FC236}">
                <a16:creationId xmlns:a16="http://schemas.microsoft.com/office/drawing/2014/main" id="{5D34EFA1-BC97-4784-841B-51DC74D688D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828916" y="4700016"/>
            <a:ext cx="2051939" cy="2404872"/>
          </a:xfrm>
          <a:prstGeom prst="rect">
            <a:avLst/>
          </a:prstGeom>
        </p:spPr>
      </p:pic>
    </p:spTree>
    <p:extLst>
      <p:ext uri="{BB962C8B-B14F-4D97-AF65-F5344CB8AC3E}">
        <p14:creationId xmlns:p14="http://schemas.microsoft.com/office/powerpoint/2010/main" val="2215661799"/>
      </p:ext>
    </p:extLst>
  </p:cSld>
  <p:clrMapOvr>
    <a:masterClrMapping/>
  </p:clrMapOvr>
  <mc:AlternateContent xmlns:mc="http://schemas.openxmlformats.org/markup-compatibility/2006" xmlns:p14="http://schemas.microsoft.com/office/powerpoint/2010/main">
    <mc:Choice Requires="p14">
      <p:transition spd="med" p14:dur="700" advClick="0" advTm="0">
        <p:fade/>
      </p:transition>
    </mc:Choice>
    <mc:Fallback xmlns="">
      <p:transition spd="med" advClick="0" advTm="0">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AA206AA6-C621-4970-97B3-9F478619D565}"/>
              </a:ext>
            </a:extLst>
          </p:cNvPr>
          <p:cNvPicPr>
            <a:picLocks noChangeAspect="1"/>
          </p:cNvPicPr>
          <p:nvPr/>
        </p:nvPicPr>
        <p:blipFill>
          <a:blip r:embed="rId2"/>
          <a:stretch>
            <a:fillRect/>
          </a:stretch>
        </p:blipFill>
        <p:spPr>
          <a:xfrm>
            <a:off x="4909789" y="1954270"/>
            <a:ext cx="1971675" cy="1876425"/>
          </a:xfrm>
          <a:prstGeom prst="rect">
            <a:avLst/>
          </a:prstGeom>
        </p:spPr>
      </p:pic>
      <p:sp>
        <p:nvSpPr>
          <p:cNvPr id="2" name="Title 1">
            <a:extLst>
              <a:ext uri="{FF2B5EF4-FFF2-40B4-BE49-F238E27FC236}">
                <a16:creationId xmlns:a16="http://schemas.microsoft.com/office/drawing/2014/main" id="{14B48BDC-E1C0-452A-8F5A-212A3A983515}"/>
              </a:ext>
            </a:extLst>
          </p:cNvPr>
          <p:cNvSpPr>
            <a:spLocks noGrp="1"/>
          </p:cNvSpPr>
          <p:nvPr>
            <p:ph type="title"/>
          </p:nvPr>
        </p:nvSpPr>
        <p:spPr/>
        <p:txBody>
          <a:bodyPr/>
          <a:lstStyle/>
          <a:p>
            <a:r>
              <a:rPr lang="en-GB" dirty="0"/>
              <a:t>Creating a Safe Environment</a:t>
            </a:r>
          </a:p>
        </p:txBody>
      </p:sp>
      <p:sp>
        <p:nvSpPr>
          <p:cNvPr id="3" name="Content Placeholder 2">
            <a:extLst>
              <a:ext uri="{FF2B5EF4-FFF2-40B4-BE49-F238E27FC236}">
                <a16:creationId xmlns:a16="http://schemas.microsoft.com/office/drawing/2014/main" id="{AE0A9650-6515-41F3-A566-37DAA8A1A5F1}"/>
              </a:ext>
            </a:extLst>
          </p:cNvPr>
          <p:cNvSpPr>
            <a:spLocks noGrp="1"/>
          </p:cNvSpPr>
          <p:nvPr>
            <p:ph idx="1"/>
          </p:nvPr>
        </p:nvSpPr>
        <p:spPr/>
        <p:txBody>
          <a:bodyPr/>
          <a:lstStyle/>
          <a:p>
            <a:pPr marL="0" indent="0">
              <a:buNone/>
            </a:pPr>
            <a:r>
              <a:rPr lang="en-US" u="sng" dirty="0"/>
              <a:t>What are examples of retaliation?</a:t>
            </a:r>
          </a:p>
          <a:p>
            <a:pPr marL="0" indent="0">
              <a:buNone/>
            </a:pPr>
            <a:endParaRPr lang="en-US" dirty="0"/>
          </a:p>
          <a:p>
            <a:pPr marL="0" indent="0">
              <a:buNone/>
            </a:pPr>
            <a:r>
              <a:rPr lang="en-US" dirty="0"/>
              <a:t>Retaliation can include:</a:t>
            </a:r>
          </a:p>
          <a:p>
            <a:pPr marL="0" indent="0">
              <a:buNone/>
            </a:pPr>
            <a:endParaRPr lang="en-US" dirty="0"/>
          </a:p>
          <a:p>
            <a:r>
              <a:rPr lang="en-US" dirty="0"/>
              <a:t>Work reassignments</a:t>
            </a:r>
          </a:p>
          <a:p>
            <a:r>
              <a:rPr lang="en-US" dirty="0"/>
              <a:t>Pay cuts</a:t>
            </a:r>
          </a:p>
          <a:p>
            <a:r>
              <a:rPr lang="en-US" dirty="0"/>
              <a:t>Lack of promotional opportunities</a:t>
            </a:r>
          </a:p>
          <a:p>
            <a:r>
              <a:rPr lang="en-US" dirty="0"/>
              <a:t>Increased level of supervision or criticism</a:t>
            </a:r>
          </a:p>
          <a:p>
            <a:r>
              <a:rPr lang="en-US" dirty="0"/>
              <a:t>Discipline or termination of employment.</a:t>
            </a:r>
            <a:endParaRPr lang="en-GB" dirty="0"/>
          </a:p>
          <a:p>
            <a:endParaRPr lang="en-GB" dirty="0"/>
          </a:p>
        </p:txBody>
      </p:sp>
      <p:pic>
        <p:nvPicPr>
          <p:cNvPr id="4" name="Picture 3">
            <a:extLst>
              <a:ext uri="{FF2B5EF4-FFF2-40B4-BE49-F238E27FC236}">
                <a16:creationId xmlns:a16="http://schemas.microsoft.com/office/drawing/2014/main" id="{AB596574-5962-4948-B3B8-1C12DDAF79EC}"/>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895627" y="3048000"/>
            <a:ext cx="2180465" cy="1752600"/>
          </a:xfrm>
          <a:prstGeom prst="rect">
            <a:avLst/>
          </a:prstGeom>
        </p:spPr>
      </p:pic>
    </p:spTree>
    <p:extLst>
      <p:ext uri="{BB962C8B-B14F-4D97-AF65-F5344CB8AC3E}">
        <p14:creationId xmlns:p14="http://schemas.microsoft.com/office/powerpoint/2010/main" val="2137350370"/>
      </p:ext>
    </p:extLst>
  </p:cSld>
  <p:clrMapOvr>
    <a:masterClrMapping/>
  </p:clrMapOvr>
  <mc:AlternateContent xmlns:mc="http://schemas.openxmlformats.org/markup-compatibility/2006" xmlns:p14="http://schemas.microsoft.com/office/powerpoint/2010/main">
    <mc:Choice Requires="p14">
      <p:transition spd="med" p14:dur="700" advClick="0" advTm="0">
        <p:fade/>
      </p:transition>
    </mc:Choice>
    <mc:Fallback xmlns="">
      <p:transition spd="med" advClick="0" advTm="0">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b="1" dirty="0"/>
              <a:t>Sexual Harassment</a:t>
            </a:r>
          </a:p>
        </p:txBody>
      </p:sp>
    </p:spTree>
    <p:extLst>
      <p:ext uri="{BB962C8B-B14F-4D97-AF65-F5344CB8AC3E}">
        <p14:creationId xmlns:p14="http://schemas.microsoft.com/office/powerpoint/2010/main" val="2462582788"/>
      </p:ext>
    </p:extLst>
  </p:cSld>
  <p:clrMapOvr>
    <a:masterClrMapping/>
  </p:clrMapOvr>
  <p:transition spd="med">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B553C9-4913-4530-BFDD-4F94B5D5250C}"/>
              </a:ext>
            </a:extLst>
          </p:cNvPr>
          <p:cNvSpPr>
            <a:spLocks noGrp="1"/>
          </p:cNvSpPr>
          <p:nvPr>
            <p:ph type="title"/>
          </p:nvPr>
        </p:nvSpPr>
        <p:spPr/>
        <p:txBody>
          <a:bodyPr/>
          <a:lstStyle/>
          <a:p>
            <a:r>
              <a:rPr lang="en-US" sz="2400" dirty="0"/>
              <a:t>Sexual Harassment Outside of Work: It’s Still Sexual Harassment</a:t>
            </a:r>
            <a:br>
              <a:rPr lang="en-US" sz="2400" dirty="0"/>
            </a:br>
            <a:endParaRPr lang="en-GB" dirty="0"/>
          </a:p>
        </p:txBody>
      </p:sp>
      <p:sp>
        <p:nvSpPr>
          <p:cNvPr id="3" name="Content Placeholder 2">
            <a:extLst>
              <a:ext uri="{FF2B5EF4-FFF2-40B4-BE49-F238E27FC236}">
                <a16:creationId xmlns:a16="http://schemas.microsoft.com/office/drawing/2014/main" id="{F6BB5586-199F-45A7-B36C-54DC7F8E2FF5}"/>
              </a:ext>
            </a:extLst>
          </p:cNvPr>
          <p:cNvSpPr>
            <a:spLocks noGrp="1"/>
          </p:cNvSpPr>
          <p:nvPr>
            <p:ph idx="1"/>
          </p:nvPr>
        </p:nvSpPr>
        <p:spPr/>
        <p:txBody>
          <a:bodyPr/>
          <a:lstStyle/>
          <a:p>
            <a:pPr marL="0" indent="0">
              <a:buNone/>
            </a:pPr>
            <a:r>
              <a:rPr lang="en-US" u="sng" dirty="0"/>
              <a:t>Unwelcome Sexual Conduct</a:t>
            </a:r>
          </a:p>
          <a:p>
            <a:pPr marL="0" indent="0">
              <a:buNone/>
            </a:pPr>
            <a:endParaRPr lang="en-US" dirty="0"/>
          </a:p>
          <a:p>
            <a:pPr marL="0" indent="0">
              <a:buNone/>
            </a:pPr>
            <a:r>
              <a:rPr lang="en-US" dirty="0"/>
              <a:t>Sexual harassment occurs when unwelcome sexual conduct affects your job or creates an intimidating, hostile, or offensive work environment. The unwelcome conduct can happen in your regular workplace, at work-related events off company premises, or anyplace where coworkers, business partners, or customers are present. </a:t>
            </a:r>
          </a:p>
          <a:p>
            <a:pPr marL="0" indent="0">
              <a:buNone/>
            </a:pPr>
            <a:endParaRPr lang="en-US" dirty="0"/>
          </a:p>
          <a:p>
            <a:pPr marL="0" indent="0">
              <a:buNone/>
            </a:pPr>
            <a:r>
              <a:rPr lang="en-US" dirty="0"/>
              <a:t>Sexual harassment that happens outside of the workplace is still sexual harassment. </a:t>
            </a:r>
            <a:endParaRPr lang="en-GB" dirty="0"/>
          </a:p>
        </p:txBody>
      </p:sp>
    </p:spTree>
    <p:extLst>
      <p:ext uri="{BB962C8B-B14F-4D97-AF65-F5344CB8AC3E}">
        <p14:creationId xmlns:p14="http://schemas.microsoft.com/office/powerpoint/2010/main" val="4204719866"/>
      </p:ext>
    </p:extLst>
  </p:cSld>
  <p:clrMapOvr>
    <a:masterClrMapping/>
  </p:clrMapOvr>
  <mc:AlternateContent xmlns:mc="http://schemas.openxmlformats.org/markup-compatibility/2006" xmlns:p14="http://schemas.microsoft.com/office/powerpoint/2010/main">
    <mc:Choice Requires="p14">
      <p:transition spd="med" p14:dur="700" advClick="0" advTm="0">
        <p:fade/>
      </p:transition>
    </mc:Choice>
    <mc:Fallback xmlns="">
      <p:transition spd="med" advClick="0" advTm="0">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F8AA4F-33CD-4561-98B6-1F7BB52BD2D5}"/>
              </a:ext>
            </a:extLst>
          </p:cNvPr>
          <p:cNvSpPr>
            <a:spLocks noGrp="1"/>
          </p:cNvSpPr>
          <p:nvPr>
            <p:ph type="title"/>
          </p:nvPr>
        </p:nvSpPr>
        <p:spPr/>
        <p:txBody>
          <a:bodyPr/>
          <a:lstStyle/>
          <a:p>
            <a:r>
              <a:rPr lang="en-US" sz="2000" dirty="0"/>
              <a:t>Sexual Harassment Outside of Work: It’s Still Sexual Harassment</a:t>
            </a:r>
            <a:endParaRPr lang="en-GB" dirty="0"/>
          </a:p>
        </p:txBody>
      </p:sp>
      <p:sp>
        <p:nvSpPr>
          <p:cNvPr id="3" name="Content Placeholder 2">
            <a:extLst>
              <a:ext uri="{FF2B5EF4-FFF2-40B4-BE49-F238E27FC236}">
                <a16:creationId xmlns:a16="http://schemas.microsoft.com/office/drawing/2014/main" id="{D3D802BC-CE4E-4FA1-97CA-292373994FDD}"/>
              </a:ext>
            </a:extLst>
          </p:cNvPr>
          <p:cNvSpPr>
            <a:spLocks noGrp="1"/>
          </p:cNvSpPr>
          <p:nvPr>
            <p:ph idx="1"/>
          </p:nvPr>
        </p:nvSpPr>
        <p:spPr>
          <a:xfrm>
            <a:off x="709180" y="1233377"/>
            <a:ext cx="7806170" cy="4943588"/>
          </a:xfrm>
        </p:spPr>
        <p:txBody>
          <a:bodyPr>
            <a:normAutofit fontScale="85000" lnSpcReduction="20000"/>
          </a:bodyPr>
          <a:lstStyle/>
          <a:p>
            <a:pPr marL="0" indent="0">
              <a:buNone/>
            </a:pPr>
            <a:r>
              <a:rPr lang="en-US" u="sng" dirty="0"/>
              <a:t>Harassment Outside of the Workplace</a:t>
            </a:r>
          </a:p>
          <a:p>
            <a:pPr marL="0" indent="0">
              <a:buNone/>
            </a:pPr>
            <a:endParaRPr lang="en-US" u="sng" dirty="0"/>
          </a:p>
          <a:p>
            <a:pPr marL="0" indent="0">
              <a:buNone/>
            </a:pPr>
            <a:r>
              <a:rPr lang="en-US" dirty="0"/>
              <a:t>Sexual harassment can happen at work, offsite meetings, business social events, or while travelling. The following are all examples of situations where sexual harassment occurs:</a:t>
            </a:r>
          </a:p>
          <a:p>
            <a:pPr marL="0" indent="0">
              <a:buNone/>
            </a:pPr>
            <a:endParaRPr lang="en-US" dirty="0"/>
          </a:p>
          <a:p>
            <a:r>
              <a:rPr lang="en-US" dirty="0"/>
              <a:t>Two employees are on a sales trip. After a successful dinner with a client, one employee tries to force his way into the other’s hotel room.</a:t>
            </a:r>
          </a:p>
          <a:p>
            <a:r>
              <a:rPr lang="en-US" dirty="0"/>
              <a:t>At a company holiday party in a restaurant, an employee gets drunk and gropes several female coworkers.</a:t>
            </a:r>
          </a:p>
          <a:p>
            <a:r>
              <a:rPr lang="en-US" dirty="0"/>
              <a:t>A female employee working a trade show. While waiting for people to stop by their booth, her male coworkers start telling vulgar jokes. She asks them to stop, but the jokes become even more explicit.</a:t>
            </a:r>
          </a:p>
          <a:p>
            <a:r>
              <a:rPr lang="en-US" dirty="0"/>
              <a:t>At a company football game, an employee positions themself by the cooler with their cell phone camera. As female coworkers bend over to get drinks, the employee takes several compromising photos and posts them on a social media site.</a:t>
            </a:r>
          </a:p>
          <a:p>
            <a:r>
              <a:rPr lang="en-US" dirty="0"/>
              <a:t>Every time a Sales Manager visits one of her customer's facilities, an employee there,  asks her out, even though she always refuses and has asked him to stop.</a:t>
            </a:r>
          </a:p>
          <a:p>
            <a:r>
              <a:rPr lang="en-US" dirty="0"/>
              <a:t>A female employee joins her coworkers at a bar after work. When the group poses for a selfie, one of her co-workers grabs her.</a:t>
            </a:r>
          </a:p>
          <a:p>
            <a:endParaRPr lang="en-GB" dirty="0"/>
          </a:p>
        </p:txBody>
      </p:sp>
    </p:spTree>
    <p:extLst>
      <p:ext uri="{BB962C8B-B14F-4D97-AF65-F5344CB8AC3E}">
        <p14:creationId xmlns:p14="http://schemas.microsoft.com/office/powerpoint/2010/main" val="4018491077"/>
      </p:ext>
    </p:extLst>
  </p:cSld>
  <p:clrMapOvr>
    <a:masterClrMapping/>
  </p:clrMapOvr>
  <mc:AlternateContent xmlns:mc="http://schemas.openxmlformats.org/markup-compatibility/2006" xmlns:p14="http://schemas.microsoft.com/office/powerpoint/2010/main">
    <mc:Choice Requires="p14">
      <p:transition spd="med" p14:dur="700" advClick="0" advTm="0">
        <p:fade/>
      </p:transition>
    </mc:Choice>
    <mc:Fallback xmlns="">
      <p:transition spd="med" advClick="0" advTm="0">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426017-D900-49A6-8F8C-E2AE8C4B246B}"/>
              </a:ext>
            </a:extLst>
          </p:cNvPr>
          <p:cNvSpPr>
            <a:spLocks noGrp="1"/>
          </p:cNvSpPr>
          <p:nvPr>
            <p:ph type="title"/>
          </p:nvPr>
        </p:nvSpPr>
        <p:spPr/>
        <p:txBody>
          <a:bodyPr/>
          <a:lstStyle/>
          <a:p>
            <a:r>
              <a:rPr lang="en-US" sz="2400" dirty="0"/>
              <a:t>Sexual Harassment Outside of Work: It’s Still Sexual Harassment</a:t>
            </a:r>
            <a:endParaRPr lang="en-GB" dirty="0"/>
          </a:p>
        </p:txBody>
      </p:sp>
      <p:sp>
        <p:nvSpPr>
          <p:cNvPr id="3" name="Content Placeholder 2">
            <a:extLst>
              <a:ext uri="{FF2B5EF4-FFF2-40B4-BE49-F238E27FC236}">
                <a16:creationId xmlns:a16="http://schemas.microsoft.com/office/drawing/2014/main" id="{A4404B8E-B036-45AA-B953-21702FBA3A5A}"/>
              </a:ext>
            </a:extLst>
          </p:cNvPr>
          <p:cNvSpPr>
            <a:spLocks noGrp="1"/>
          </p:cNvSpPr>
          <p:nvPr>
            <p:ph idx="1"/>
          </p:nvPr>
        </p:nvSpPr>
        <p:spPr>
          <a:xfrm>
            <a:off x="709180" y="1558636"/>
            <a:ext cx="7806170" cy="4337774"/>
          </a:xfrm>
        </p:spPr>
        <p:txBody>
          <a:bodyPr/>
          <a:lstStyle/>
          <a:p>
            <a:pPr marL="0" indent="0">
              <a:buNone/>
            </a:pPr>
            <a:r>
              <a:rPr lang="en-US" u="sng" dirty="0"/>
              <a:t>Harmless Beginnings</a:t>
            </a:r>
          </a:p>
          <a:p>
            <a:pPr marL="0" indent="0">
              <a:buNone/>
            </a:pPr>
            <a:endParaRPr lang="en-US" u="sng" dirty="0"/>
          </a:p>
          <a:p>
            <a:r>
              <a:rPr lang="en-US" dirty="0"/>
              <a:t>Sexual harassment sometimes begins with harmless conversations or comments, not necessarily inappropriate in themselves. </a:t>
            </a:r>
          </a:p>
          <a:p>
            <a:pPr marL="0" indent="0">
              <a:buNone/>
            </a:pPr>
            <a:endParaRPr lang="en-US" dirty="0"/>
          </a:p>
          <a:p>
            <a:r>
              <a:rPr lang="en-US" dirty="0"/>
              <a:t>What seems innocent may evolve to demands for sexual favors, unwelcome physical contact or gestures, or inappropriate comments or messages.</a:t>
            </a:r>
          </a:p>
          <a:p>
            <a:pPr marL="0" indent="0">
              <a:buNone/>
            </a:pPr>
            <a:endParaRPr lang="en-US" dirty="0"/>
          </a:p>
          <a:p>
            <a:r>
              <a:rPr lang="en-US" dirty="0"/>
              <a:t>How do you know when someone is crossing the line from acceptable to unacceptable or even illegal conduct? With sexual harassment, what matters is how a reasonable person standing in the shoes of the person receiving the unwanted attention would feel. </a:t>
            </a:r>
          </a:p>
          <a:p>
            <a:endParaRPr lang="en-GB" dirty="0"/>
          </a:p>
        </p:txBody>
      </p:sp>
    </p:spTree>
    <p:extLst>
      <p:ext uri="{BB962C8B-B14F-4D97-AF65-F5344CB8AC3E}">
        <p14:creationId xmlns:p14="http://schemas.microsoft.com/office/powerpoint/2010/main" val="423326897"/>
      </p:ext>
    </p:extLst>
  </p:cSld>
  <p:clrMapOvr>
    <a:masterClrMapping/>
  </p:clrMapOvr>
  <mc:AlternateContent xmlns:mc="http://schemas.openxmlformats.org/markup-compatibility/2006" xmlns:p14="http://schemas.microsoft.com/office/powerpoint/2010/main">
    <mc:Choice Requires="p14">
      <p:transition spd="med" p14:dur="700" advClick="0" advTm="0">
        <p:fade/>
      </p:transition>
    </mc:Choice>
    <mc:Fallback xmlns="">
      <p:transition spd="med" advClick="0" advTm="0">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944DE6-7460-4475-9A4A-1F35E2B59F86}"/>
              </a:ext>
            </a:extLst>
          </p:cNvPr>
          <p:cNvSpPr>
            <a:spLocks noGrp="1"/>
          </p:cNvSpPr>
          <p:nvPr>
            <p:ph type="title"/>
          </p:nvPr>
        </p:nvSpPr>
        <p:spPr/>
        <p:txBody>
          <a:bodyPr/>
          <a:lstStyle/>
          <a:p>
            <a:r>
              <a:rPr lang="en-US" sz="2400" dirty="0"/>
              <a:t>Sexual Harassment Outside of Work: It’s Still Sexual Harassment</a:t>
            </a:r>
            <a:endParaRPr lang="en-GB" dirty="0"/>
          </a:p>
        </p:txBody>
      </p:sp>
      <p:sp>
        <p:nvSpPr>
          <p:cNvPr id="3" name="Content Placeholder 2">
            <a:extLst>
              <a:ext uri="{FF2B5EF4-FFF2-40B4-BE49-F238E27FC236}">
                <a16:creationId xmlns:a16="http://schemas.microsoft.com/office/drawing/2014/main" id="{9A7C75A6-BBE5-43E7-9EDD-4514583539F5}"/>
              </a:ext>
            </a:extLst>
          </p:cNvPr>
          <p:cNvSpPr>
            <a:spLocks noGrp="1"/>
          </p:cNvSpPr>
          <p:nvPr>
            <p:ph idx="1"/>
          </p:nvPr>
        </p:nvSpPr>
        <p:spPr/>
        <p:txBody>
          <a:bodyPr/>
          <a:lstStyle/>
          <a:p>
            <a:pPr marL="0" indent="0">
              <a:buNone/>
            </a:pPr>
            <a:r>
              <a:rPr lang="en-US" u="sng" dirty="0"/>
              <a:t>The Reasonable Person Standard</a:t>
            </a:r>
          </a:p>
          <a:p>
            <a:endParaRPr lang="en-US" dirty="0"/>
          </a:p>
          <a:p>
            <a:endParaRPr lang="en-US" dirty="0"/>
          </a:p>
          <a:p>
            <a:r>
              <a:rPr lang="en-US" dirty="0"/>
              <a:t>Conduct is illegal sexual harassment if a reasonable person in the victim's position would believe that the behavior makes it substantially more difficult to function at work. Such behavior creates an intimidating or offensive work environment.</a:t>
            </a:r>
          </a:p>
          <a:p>
            <a:endParaRPr lang="en-GB" dirty="0"/>
          </a:p>
        </p:txBody>
      </p:sp>
    </p:spTree>
    <p:extLst>
      <p:ext uri="{BB962C8B-B14F-4D97-AF65-F5344CB8AC3E}">
        <p14:creationId xmlns:p14="http://schemas.microsoft.com/office/powerpoint/2010/main" val="3598947866"/>
      </p:ext>
    </p:extLst>
  </p:cSld>
  <p:clrMapOvr>
    <a:masterClrMapping/>
  </p:clrMapOvr>
  <mc:AlternateContent xmlns:mc="http://schemas.openxmlformats.org/markup-compatibility/2006" xmlns:p14="http://schemas.microsoft.com/office/powerpoint/2010/main">
    <mc:Choice Requires="p14">
      <p:transition spd="med" p14:dur="700" advClick="0" advTm="0">
        <p:fade/>
      </p:transition>
    </mc:Choice>
    <mc:Fallback xmlns="">
      <p:transition spd="med" advClick="0" advTm="0">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310A5C-21E1-4431-AF23-160E16CD3213}"/>
              </a:ext>
            </a:extLst>
          </p:cNvPr>
          <p:cNvSpPr>
            <a:spLocks noGrp="1"/>
          </p:cNvSpPr>
          <p:nvPr>
            <p:ph type="title"/>
          </p:nvPr>
        </p:nvSpPr>
        <p:spPr/>
        <p:txBody>
          <a:bodyPr/>
          <a:lstStyle/>
          <a:p>
            <a:r>
              <a:rPr lang="en-US" sz="2400" dirty="0"/>
              <a:t>Sexual Harassment Outside of Work: It’s Still Sexual Harassment</a:t>
            </a:r>
            <a:endParaRPr lang="en-GB" dirty="0"/>
          </a:p>
        </p:txBody>
      </p:sp>
      <p:sp>
        <p:nvSpPr>
          <p:cNvPr id="3" name="Content Placeholder 2">
            <a:extLst>
              <a:ext uri="{FF2B5EF4-FFF2-40B4-BE49-F238E27FC236}">
                <a16:creationId xmlns:a16="http://schemas.microsoft.com/office/drawing/2014/main" id="{B07E3964-6A52-4F88-A384-D7F1B642436E}"/>
              </a:ext>
            </a:extLst>
          </p:cNvPr>
          <p:cNvSpPr>
            <a:spLocks noGrp="1"/>
          </p:cNvSpPr>
          <p:nvPr>
            <p:ph idx="1"/>
          </p:nvPr>
        </p:nvSpPr>
        <p:spPr>
          <a:xfrm>
            <a:off x="709180" y="1558636"/>
            <a:ext cx="7806170" cy="4337774"/>
          </a:xfrm>
        </p:spPr>
        <p:txBody>
          <a:bodyPr/>
          <a:lstStyle/>
          <a:p>
            <a:pPr marL="0" indent="0">
              <a:buNone/>
            </a:pPr>
            <a:r>
              <a:rPr lang="en-US" u="sng" dirty="0"/>
              <a:t>Reporting Sexual Harassment</a:t>
            </a:r>
          </a:p>
          <a:p>
            <a:endParaRPr lang="en-US" dirty="0"/>
          </a:p>
          <a:p>
            <a:r>
              <a:rPr lang="en-US" dirty="0"/>
              <a:t>Report All Incidents of Sexual Harassment</a:t>
            </a:r>
          </a:p>
          <a:p>
            <a:pPr marL="0" indent="0">
              <a:buNone/>
            </a:pPr>
            <a:endParaRPr lang="en-US" dirty="0"/>
          </a:p>
          <a:p>
            <a:r>
              <a:rPr lang="en-US" dirty="0"/>
              <a:t>If you ever experience or witness sexual harassment outside of work, you are obligated to report it. You may report the behavior to your supervisor, any other supervisor or manager, or Human Resources or another appropriate company resource.</a:t>
            </a:r>
          </a:p>
          <a:p>
            <a:endParaRPr lang="en-US" dirty="0"/>
          </a:p>
          <a:p>
            <a:r>
              <a:rPr lang="en-US" dirty="0"/>
              <a:t>RPM does not tolerate sexual harassment, whether it occurs inside our workplace or outside of it. By reporting incidents of inappropriate behavior, the situation can be corrected, and you help create a respectful work environment for all employees</a:t>
            </a:r>
            <a:endParaRPr lang="en-GB" dirty="0"/>
          </a:p>
        </p:txBody>
      </p:sp>
    </p:spTree>
    <p:extLst>
      <p:ext uri="{BB962C8B-B14F-4D97-AF65-F5344CB8AC3E}">
        <p14:creationId xmlns:p14="http://schemas.microsoft.com/office/powerpoint/2010/main" val="3582066394"/>
      </p:ext>
    </p:extLst>
  </p:cSld>
  <p:clrMapOvr>
    <a:masterClrMapping/>
  </p:clrMapOvr>
  <mc:AlternateContent xmlns:mc="http://schemas.openxmlformats.org/markup-compatibility/2006" xmlns:p14="http://schemas.microsoft.com/office/powerpoint/2010/main">
    <mc:Choice Requires="p14">
      <p:transition spd="med" p14:dur="700" advClick="0" advTm="0">
        <p:fade/>
      </p:transition>
    </mc:Choice>
    <mc:Fallback xmlns="">
      <p:transition spd="med" advClick="0" advTm="0">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troduction</a:t>
            </a:r>
          </a:p>
        </p:txBody>
      </p:sp>
      <p:sp>
        <p:nvSpPr>
          <p:cNvPr id="3" name="Content Placeholder 2"/>
          <p:cNvSpPr>
            <a:spLocks noGrp="1"/>
          </p:cNvSpPr>
          <p:nvPr>
            <p:ph idx="1"/>
          </p:nvPr>
        </p:nvSpPr>
        <p:spPr>
          <a:xfrm>
            <a:off x="321789" y="1085085"/>
            <a:ext cx="5207141" cy="4821939"/>
          </a:xfrm>
        </p:spPr>
        <p:txBody>
          <a:bodyPr>
            <a:normAutofit/>
          </a:bodyPr>
          <a:lstStyle/>
          <a:p>
            <a:pPr marL="0" indent="0">
              <a:buNone/>
            </a:pPr>
            <a:r>
              <a:rPr lang="en-US" sz="1600" dirty="0"/>
              <a:t>Our Company Values…</a:t>
            </a:r>
          </a:p>
          <a:p>
            <a:pPr marL="0" indent="0">
              <a:buNone/>
            </a:pPr>
            <a:endParaRPr lang="en-US" sz="1600" dirty="0"/>
          </a:p>
          <a:p>
            <a:pPr marL="0" indent="0">
              <a:buNone/>
            </a:pPr>
            <a:r>
              <a:rPr lang="en-US" sz="1600" dirty="0"/>
              <a:t>At RPM, we believe that everyone deserves to be treated with respect and dignity, and that this approach is key to our success.</a:t>
            </a:r>
          </a:p>
          <a:p>
            <a:pPr marL="0" indent="0">
              <a:buNone/>
            </a:pPr>
            <a:endParaRPr lang="en-US" sz="1600" dirty="0"/>
          </a:p>
          <a:p>
            <a:pPr marL="0" indent="0">
              <a:buNone/>
            </a:pPr>
            <a:r>
              <a:rPr lang="en-US" sz="1600" dirty="0"/>
              <a:t>We know that when working together to create an environment of mutual respect that is free from harassment and discrimination, we all benefit. We see those benefits in how we share ideas, work in teams, and communicate. However, when someone is subjected to disrespectful or harassing behavior, it can hurt morale, violate company policy, and even break the law.</a:t>
            </a:r>
          </a:p>
          <a:p>
            <a:pPr marL="0" indent="0">
              <a:buNone/>
            </a:pPr>
            <a:endParaRPr lang="en-US" sz="1600" dirty="0"/>
          </a:p>
          <a:p>
            <a:pPr marL="0" indent="0">
              <a:buNone/>
            </a:pPr>
            <a:r>
              <a:rPr lang="en-US" sz="1600" dirty="0"/>
              <a:t>We all have a responsibility to treat one another with respect, and to address inappropriate conduct if it occurs. This course will help you meet those obligations and follow our company policy. </a:t>
            </a:r>
          </a:p>
        </p:txBody>
      </p:sp>
      <p:sp>
        <p:nvSpPr>
          <p:cNvPr id="4" name="Date Placeholder 3"/>
          <p:cNvSpPr>
            <a:spLocks noGrp="1"/>
          </p:cNvSpPr>
          <p:nvPr>
            <p:ph type="dt" sz="half" idx="2"/>
          </p:nvPr>
        </p:nvSpPr>
        <p:spPr/>
        <p:txBody>
          <a:bodyPr/>
          <a:lstStyle/>
          <a:p>
            <a:r>
              <a:rPr lang="en-US" dirty="0"/>
              <a:t>1/21/19</a:t>
            </a:r>
          </a:p>
        </p:txBody>
      </p:sp>
      <p:sp>
        <p:nvSpPr>
          <p:cNvPr id="5" name="Footer Placeholder 4"/>
          <p:cNvSpPr>
            <a:spLocks noGrp="1"/>
          </p:cNvSpPr>
          <p:nvPr>
            <p:ph type="ftr" sz="quarter" idx="3"/>
          </p:nvPr>
        </p:nvSpPr>
        <p:spPr/>
        <p:txBody>
          <a:bodyPr/>
          <a:lstStyle/>
          <a:p>
            <a:r>
              <a:rPr lang="en-US"/>
              <a:t>RPM International Inc.</a:t>
            </a:r>
            <a:endParaRPr lang="en-US" dirty="0"/>
          </a:p>
        </p:txBody>
      </p:sp>
      <p:pic>
        <p:nvPicPr>
          <p:cNvPr id="7" name="Picture 6">
            <a:extLst>
              <a:ext uri="{FF2B5EF4-FFF2-40B4-BE49-F238E27FC236}">
                <a16:creationId xmlns:a16="http://schemas.microsoft.com/office/drawing/2014/main" id="{B7945F48-3D24-4187-B719-5A6AFC5323CF}"/>
              </a:ext>
            </a:extLst>
          </p:cNvPr>
          <p:cNvPicPr>
            <a:picLocks noChangeAspect="1"/>
          </p:cNvPicPr>
          <p:nvPr/>
        </p:nvPicPr>
        <p:blipFill>
          <a:blip r:embed="rId3"/>
          <a:stretch>
            <a:fillRect/>
          </a:stretch>
        </p:blipFill>
        <p:spPr>
          <a:xfrm>
            <a:off x="6115733" y="1148997"/>
            <a:ext cx="2769308" cy="2347057"/>
          </a:xfrm>
          <a:prstGeom prst="rect">
            <a:avLst/>
          </a:prstGeom>
        </p:spPr>
      </p:pic>
      <p:pic>
        <p:nvPicPr>
          <p:cNvPr id="9" name="Picture 8">
            <a:extLst>
              <a:ext uri="{FF2B5EF4-FFF2-40B4-BE49-F238E27FC236}">
                <a16:creationId xmlns:a16="http://schemas.microsoft.com/office/drawing/2014/main" id="{67EFC27E-68D1-4AD7-8C06-3AC2443400D4}"/>
              </a:ext>
            </a:extLst>
          </p:cNvPr>
          <p:cNvPicPr>
            <a:picLocks noChangeAspect="1"/>
          </p:cNvPicPr>
          <p:nvPr/>
        </p:nvPicPr>
        <p:blipFill>
          <a:blip r:embed="rId4"/>
          <a:stretch>
            <a:fillRect/>
          </a:stretch>
        </p:blipFill>
        <p:spPr>
          <a:xfrm flipH="1">
            <a:off x="5497220" y="2784923"/>
            <a:ext cx="1532043" cy="2987992"/>
          </a:xfrm>
          <a:prstGeom prst="rect">
            <a:avLst/>
          </a:prstGeom>
        </p:spPr>
      </p:pic>
    </p:spTree>
    <p:extLst>
      <p:ext uri="{BB962C8B-B14F-4D97-AF65-F5344CB8AC3E}">
        <p14:creationId xmlns:p14="http://schemas.microsoft.com/office/powerpoint/2010/main" val="752845867"/>
      </p:ext>
    </p:extLst>
  </p:cSld>
  <p:clrMapOvr>
    <a:masterClrMapping/>
  </p:clrMapOvr>
  <mc:AlternateContent xmlns:mc="http://schemas.openxmlformats.org/markup-compatibility/2006" xmlns:p14="http://schemas.microsoft.com/office/powerpoint/2010/main">
    <mc:Choice Requires="p14">
      <p:transition spd="med" p14:dur="700" advClick="0" advTm="0">
        <p:fade/>
      </p:transition>
    </mc:Choice>
    <mc:Fallback xmlns="">
      <p:transition spd="med" advClick="0" advTm="0">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4A2854-9A65-4E7A-A4E0-BB92396CBB3A}"/>
              </a:ext>
            </a:extLst>
          </p:cNvPr>
          <p:cNvSpPr>
            <a:spLocks noGrp="1"/>
          </p:cNvSpPr>
          <p:nvPr>
            <p:ph type="title"/>
          </p:nvPr>
        </p:nvSpPr>
        <p:spPr/>
        <p:txBody>
          <a:bodyPr/>
          <a:lstStyle/>
          <a:p>
            <a:r>
              <a:rPr lang="en-US" sz="2000" dirty="0"/>
              <a:t>Sexual Harassment Outside of Work: It’s Still Sexual Harassment - </a:t>
            </a:r>
            <a:r>
              <a:rPr lang="en-US" sz="2000" b="1" dirty="0"/>
              <a:t>QUESTION</a:t>
            </a:r>
            <a:endParaRPr lang="en-GB" b="1" dirty="0"/>
          </a:p>
        </p:txBody>
      </p:sp>
      <p:sp>
        <p:nvSpPr>
          <p:cNvPr id="3" name="Content Placeholder 2">
            <a:extLst>
              <a:ext uri="{FF2B5EF4-FFF2-40B4-BE49-F238E27FC236}">
                <a16:creationId xmlns:a16="http://schemas.microsoft.com/office/drawing/2014/main" id="{4806059C-26CA-494B-8451-FC58D865B1C7}"/>
              </a:ext>
            </a:extLst>
          </p:cNvPr>
          <p:cNvSpPr>
            <a:spLocks noGrp="1"/>
          </p:cNvSpPr>
          <p:nvPr>
            <p:ph idx="1"/>
          </p:nvPr>
        </p:nvSpPr>
        <p:spPr>
          <a:xfrm>
            <a:off x="709180" y="1347537"/>
            <a:ext cx="5306609" cy="4829428"/>
          </a:xfrm>
        </p:spPr>
        <p:txBody>
          <a:bodyPr/>
          <a:lstStyle/>
          <a:p>
            <a:pPr marL="0" indent="0">
              <a:buNone/>
            </a:pPr>
            <a:r>
              <a:rPr lang="en-US" dirty="0"/>
              <a:t>Two employees initially get together with coworkers for happy hour. They had several drinks. Eventually one employee becomes sexually aggressive towards the other. </a:t>
            </a:r>
          </a:p>
          <a:p>
            <a:pPr marL="0" indent="0">
              <a:buNone/>
            </a:pPr>
            <a:endParaRPr lang="en-US" dirty="0"/>
          </a:p>
          <a:p>
            <a:pPr marL="0" indent="0">
              <a:buNone/>
            </a:pPr>
            <a:r>
              <a:rPr lang="en-US" dirty="0"/>
              <a:t>What should the employee who received the aggressive </a:t>
            </a:r>
            <a:r>
              <a:rPr lang="en-US" dirty="0" err="1"/>
              <a:t>behaviour</a:t>
            </a:r>
            <a:r>
              <a:rPr lang="en-US" dirty="0"/>
              <a:t> do?</a:t>
            </a:r>
          </a:p>
          <a:p>
            <a:pPr marL="0" indent="0">
              <a:buNone/>
            </a:pPr>
            <a:endParaRPr lang="en-US" dirty="0"/>
          </a:p>
          <a:p>
            <a:pPr marL="457200" indent="-457200">
              <a:buAutoNum type="alphaLcParenR"/>
            </a:pPr>
            <a:r>
              <a:rPr lang="en-US" dirty="0"/>
              <a:t>Forget about the incident—they were both drinking</a:t>
            </a:r>
          </a:p>
          <a:p>
            <a:pPr marL="457200" indent="-457200">
              <a:buAutoNum type="alphaLcParenR"/>
            </a:pPr>
            <a:r>
              <a:rPr lang="en-US" dirty="0"/>
              <a:t>Ask around to find out if the other employee always behaves that way</a:t>
            </a:r>
          </a:p>
          <a:p>
            <a:pPr marL="457200" indent="-457200">
              <a:buAutoNum type="alphaLcParenR"/>
            </a:pPr>
            <a:r>
              <a:rPr lang="en-US" dirty="0"/>
              <a:t>Report the incident</a:t>
            </a:r>
          </a:p>
          <a:p>
            <a:endParaRPr lang="en-GB" dirty="0"/>
          </a:p>
        </p:txBody>
      </p:sp>
      <p:pic>
        <p:nvPicPr>
          <p:cNvPr id="5" name="Picture 4" descr="A close up of a logo&#10;&#10;Description automatically generated">
            <a:extLst>
              <a:ext uri="{FF2B5EF4-FFF2-40B4-BE49-F238E27FC236}">
                <a16:creationId xmlns:a16="http://schemas.microsoft.com/office/drawing/2014/main" id="{7B904DC3-BCC8-4A3C-A35A-63F4EEACB5D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305869" y="2304097"/>
            <a:ext cx="1946769" cy="2516555"/>
          </a:xfrm>
          <a:prstGeom prst="rect">
            <a:avLst/>
          </a:prstGeom>
        </p:spPr>
      </p:pic>
    </p:spTree>
    <p:extLst>
      <p:ext uri="{BB962C8B-B14F-4D97-AF65-F5344CB8AC3E}">
        <p14:creationId xmlns:p14="http://schemas.microsoft.com/office/powerpoint/2010/main" val="1884586426"/>
      </p:ext>
    </p:extLst>
  </p:cSld>
  <p:clrMapOvr>
    <a:masterClrMapping/>
  </p:clrMapOvr>
  <mc:AlternateContent xmlns:mc="http://schemas.openxmlformats.org/markup-compatibility/2006" xmlns:p14="http://schemas.microsoft.com/office/powerpoint/2010/main">
    <mc:Choice Requires="p14">
      <p:transition spd="med" p14:dur="700" advClick="0" advTm="0">
        <p:fade/>
      </p:transition>
    </mc:Choice>
    <mc:Fallback xmlns="">
      <p:transition spd="med" advClick="0" advTm="0">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375997-3E4C-40F4-98A9-E543749E6EAC}"/>
              </a:ext>
            </a:extLst>
          </p:cNvPr>
          <p:cNvSpPr>
            <a:spLocks noGrp="1"/>
          </p:cNvSpPr>
          <p:nvPr>
            <p:ph type="title"/>
          </p:nvPr>
        </p:nvSpPr>
        <p:spPr>
          <a:xfrm>
            <a:off x="419100" y="74437"/>
            <a:ext cx="8096250" cy="1213196"/>
          </a:xfrm>
        </p:spPr>
        <p:txBody>
          <a:bodyPr/>
          <a:lstStyle/>
          <a:p>
            <a:r>
              <a:rPr lang="en-US" sz="2400" dirty="0"/>
              <a:t>Sexual Harassment Outside of Work: It’s Still Sexual Harassment - </a:t>
            </a:r>
            <a:r>
              <a:rPr lang="en-US" sz="2400" b="1" dirty="0"/>
              <a:t>ANSWER</a:t>
            </a:r>
            <a:endParaRPr lang="en-GB" dirty="0"/>
          </a:p>
        </p:txBody>
      </p:sp>
      <p:sp>
        <p:nvSpPr>
          <p:cNvPr id="3" name="Content Placeholder 2">
            <a:extLst>
              <a:ext uri="{FF2B5EF4-FFF2-40B4-BE49-F238E27FC236}">
                <a16:creationId xmlns:a16="http://schemas.microsoft.com/office/drawing/2014/main" id="{B04016AA-887E-44FF-A4AC-618A1289A958}"/>
              </a:ext>
            </a:extLst>
          </p:cNvPr>
          <p:cNvSpPr>
            <a:spLocks noGrp="1"/>
          </p:cNvSpPr>
          <p:nvPr>
            <p:ph idx="1"/>
          </p:nvPr>
        </p:nvSpPr>
        <p:spPr>
          <a:xfrm>
            <a:off x="709180" y="1555727"/>
            <a:ext cx="7806170" cy="4337774"/>
          </a:xfrm>
        </p:spPr>
        <p:txBody>
          <a:bodyPr/>
          <a:lstStyle/>
          <a:p>
            <a:endParaRPr lang="en-US" dirty="0"/>
          </a:p>
          <a:p>
            <a:pPr marL="0" indent="0">
              <a:buNone/>
            </a:pPr>
            <a:endParaRPr lang="en-US" dirty="0"/>
          </a:p>
          <a:p>
            <a:pPr marL="0" indent="0">
              <a:buNone/>
            </a:pPr>
            <a:r>
              <a:rPr lang="en-US" sz="2500" b="1" dirty="0"/>
              <a:t>c)</a:t>
            </a:r>
          </a:p>
          <a:p>
            <a:pPr marL="0" indent="0">
              <a:buNone/>
            </a:pPr>
            <a:endParaRPr lang="en-US" dirty="0"/>
          </a:p>
          <a:p>
            <a:pPr marL="0" indent="0">
              <a:buNone/>
            </a:pPr>
            <a:r>
              <a:rPr lang="en-US" dirty="0"/>
              <a:t>Even though both drinking, one employee’s </a:t>
            </a:r>
            <a:r>
              <a:rPr lang="en-US" dirty="0" err="1"/>
              <a:t>behaviour</a:t>
            </a:r>
            <a:r>
              <a:rPr lang="en-US" dirty="0"/>
              <a:t> was sexual in nature and unwelcome; therefore, it was unacceptable. The employee who received the advances should report the incident as sexual harassment.</a:t>
            </a:r>
          </a:p>
          <a:p>
            <a:endParaRPr lang="en-GB" dirty="0"/>
          </a:p>
        </p:txBody>
      </p:sp>
    </p:spTree>
    <p:extLst>
      <p:ext uri="{BB962C8B-B14F-4D97-AF65-F5344CB8AC3E}">
        <p14:creationId xmlns:p14="http://schemas.microsoft.com/office/powerpoint/2010/main" val="239058637"/>
      </p:ext>
    </p:extLst>
  </p:cSld>
  <p:clrMapOvr>
    <a:masterClrMapping/>
  </p:clrMapOvr>
  <mc:AlternateContent xmlns:mc="http://schemas.openxmlformats.org/markup-compatibility/2006" xmlns:p14="http://schemas.microsoft.com/office/powerpoint/2010/main">
    <mc:Choice Requires="p14">
      <p:transition spd="med" p14:dur="700" advClick="0" advTm="0">
        <p:fade/>
      </p:transition>
    </mc:Choice>
    <mc:Fallback xmlns="">
      <p:transition spd="med" advClick="0" advTm="0">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5878328" y="3071775"/>
            <a:ext cx="2706688" cy="2852737"/>
          </a:xfrm>
        </p:spPr>
        <p:txBody>
          <a:bodyPr/>
          <a:lstStyle/>
          <a:p>
            <a:r>
              <a:rPr lang="en-US" b="1" dirty="0"/>
              <a:t>Presentation Summary and additional scenarios</a:t>
            </a:r>
          </a:p>
        </p:txBody>
      </p:sp>
    </p:spTree>
    <p:extLst>
      <p:ext uri="{BB962C8B-B14F-4D97-AF65-F5344CB8AC3E}">
        <p14:creationId xmlns:p14="http://schemas.microsoft.com/office/powerpoint/2010/main" val="2571298448"/>
      </p:ext>
    </p:extLst>
  </p:cSld>
  <p:clrMapOvr>
    <a:masterClrMapping/>
  </p:clrMapOvr>
  <p:transition spd="med">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9A6567-0F6D-4ADB-B9B5-F428A7C16061}"/>
              </a:ext>
            </a:extLst>
          </p:cNvPr>
          <p:cNvSpPr>
            <a:spLocks noGrp="1"/>
          </p:cNvSpPr>
          <p:nvPr>
            <p:ph type="title"/>
          </p:nvPr>
        </p:nvSpPr>
        <p:spPr/>
        <p:txBody>
          <a:bodyPr/>
          <a:lstStyle/>
          <a:p>
            <a:r>
              <a:rPr lang="en-GB" dirty="0"/>
              <a:t>Key Points…</a:t>
            </a:r>
          </a:p>
        </p:txBody>
      </p:sp>
      <p:sp>
        <p:nvSpPr>
          <p:cNvPr id="3" name="Content Placeholder 2">
            <a:extLst>
              <a:ext uri="{FF2B5EF4-FFF2-40B4-BE49-F238E27FC236}">
                <a16:creationId xmlns:a16="http://schemas.microsoft.com/office/drawing/2014/main" id="{7DC8F84F-35C1-4313-9C78-E8289047CF96}"/>
              </a:ext>
            </a:extLst>
          </p:cNvPr>
          <p:cNvSpPr>
            <a:spLocks noGrp="1"/>
          </p:cNvSpPr>
          <p:nvPr>
            <p:ph idx="1"/>
          </p:nvPr>
        </p:nvSpPr>
        <p:spPr>
          <a:xfrm>
            <a:off x="709180" y="1260112"/>
            <a:ext cx="7806170" cy="5108603"/>
          </a:xfrm>
        </p:spPr>
        <p:txBody>
          <a:bodyPr>
            <a:normAutofit/>
          </a:bodyPr>
          <a:lstStyle/>
          <a:p>
            <a:r>
              <a:rPr lang="en-US" dirty="0"/>
              <a:t>Knowing which behaviors are inappropriate and prohibited in our workplace is key to promoting mutual respect</a:t>
            </a:r>
          </a:p>
          <a:p>
            <a:pPr marL="0" indent="0">
              <a:buNone/>
            </a:pPr>
            <a:endParaRPr lang="en-US" dirty="0"/>
          </a:p>
          <a:p>
            <a:r>
              <a:rPr lang="en-US" dirty="0"/>
              <a:t>Certain behaviors could be a form of harassment, which would violate company policy, and possibly the law.</a:t>
            </a:r>
          </a:p>
          <a:p>
            <a:pPr marL="0" indent="0">
              <a:buNone/>
            </a:pPr>
            <a:endParaRPr lang="en-US" dirty="0"/>
          </a:p>
          <a:p>
            <a:r>
              <a:rPr lang="en-US" dirty="0"/>
              <a:t>As a general guideline, any behavior that is personally intimidating, degrading, or sexually offensive is prohibited</a:t>
            </a:r>
          </a:p>
          <a:p>
            <a:pPr marL="0" indent="0">
              <a:buNone/>
            </a:pPr>
            <a:endParaRPr lang="en-US" dirty="0"/>
          </a:p>
          <a:p>
            <a:r>
              <a:rPr lang="en-US" dirty="0"/>
              <a:t>Disrespectful behaviors based on personal characteristics are also prohibited.</a:t>
            </a:r>
          </a:p>
          <a:p>
            <a:pPr marL="0" indent="0">
              <a:buNone/>
            </a:pPr>
            <a:endParaRPr lang="en-US" dirty="0"/>
          </a:p>
          <a:p>
            <a:r>
              <a:rPr lang="en-US" dirty="0"/>
              <a:t>If you are unsure of what </a:t>
            </a:r>
            <a:r>
              <a:rPr lang="en-US" dirty="0" err="1"/>
              <a:t>behaviours</a:t>
            </a:r>
            <a:r>
              <a:rPr lang="en-US" dirty="0"/>
              <a:t> are considered inappropriate, refer to the Values and Expectations of 168 guidance or talk to one of the several resources who can help.</a:t>
            </a:r>
          </a:p>
          <a:p>
            <a:pPr marL="0" indent="0">
              <a:buNone/>
            </a:pPr>
            <a:endParaRPr lang="en-US" dirty="0"/>
          </a:p>
          <a:p>
            <a:pPr marL="0" indent="0">
              <a:buNone/>
            </a:pPr>
            <a:endParaRPr lang="en-GB" dirty="0"/>
          </a:p>
        </p:txBody>
      </p:sp>
    </p:spTree>
    <p:extLst>
      <p:ext uri="{BB962C8B-B14F-4D97-AF65-F5344CB8AC3E}">
        <p14:creationId xmlns:p14="http://schemas.microsoft.com/office/powerpoint/2010/main" val="3534509950"/>
      </p:ext>
    </p:extLst>
  </p:cSld>
  <p:clrMapOvr>
    <a:masterClrMapping/>
  </p:clrMapOvr>
  <mc:AlternateContent xmlns:mc="http://schemas.openxmlformats.org/markup-compatibility/2006" xmlns:p14="http://schemas.microsoft.com/office/powerpoint/2010/main">
    <mc:Choice Requires="p14">
      <p:transition spd="med" p14:dur="700" advClick="0" advTm="0">
        <p:fade/>
      </p:transition>
    </mc:Choice>
    <mc:Fallback xmlns="">
      <p:transition spd="med" advClick="0" advTm="0">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38AA60-84ED-46F0-965F-CBAC332D08A2}"/>
              </a:ext>
            </a:extLst>
          </p:cNvPr>
          <p:cNvSpPr>
            <a:spLocks noGrp="1"/>
          </p:cNvSpPr>
          <p:nvPr>
            <p:ph type="title"/>
          </p:nvPr>
        </p:nvSpPr>
        <p:spPr/>
        <p:txBody>
          <a:bodyPr/>
          <a:lstStyle/>
          <a:p>
            <a:r>
              <a:rPr lang="en-GB" dirty="0"/>
              <a:t>Recognise and Respond…</a:t>
            </a:r>
          </a:p>
        </p:txBody>
      </p:sp>
      <p:sp>
        <p:nvSpPr>
          <p:cNvPr id="3" name="Content Placeholder 2">
            <a:extLst>
              <a:ext uri="{FF2B5EF4-FFF2-40B4-BE49-F238E27FC236}">
                <a16:creationId xmlns:a16="http://schemas.microsoft.com/office/drawing/2014/main" id="{A88E035D-014A-4BBD-9D15-B5A556D89BE0}"/>
              </a:ext>
            </a:extLst>
          </p:cNvPr>
          <p:cNvSpPr>
            <a:spLocks noGrp="1"/>
          </p:cNvSpPr>
          <p:nvPr>
            <p:ph idx="1"/>
          </p:nvPr>
        </p:nvSpPr>
        <p:spPr>
          <a:xfrm>
            <a:off x="709180" y="1403498"/>
            <a:ext cx="7806170" cy="4741570"/>
          </a:xfrm>
        </p:spPr>
        <p:txBody>
          <a:bodyPr>
            <a:normAutofit fontScale="92500" lnSpcReduction="10000"/>
          </a:bodyPr>
          <a:lstStyle/>
          <a:p>
            <a:r>
              <a:rPr lang="en-US" dirty="0"/>
              <a:t>If someone behaves disrespectfully towards you or someone else in the workplace, we encourage you to discuss your concerns with that person. If you're not comfortable doing so, or if the behavior continues, report it. </a:t>
            </a:r>
          </a:p>
          <a:p>
            <a:pPr marL="0" indent="0">
              <a:buNone/>
            </a:pPr>
            <a:endParaRPr lang="en-US" dirty="0"/>
          </a:p>
          <a:p>
            <a:r>
              <a:rPr lang="en-US" dirty="0"/>
              <a:t>RPM takes all reports seriously and has processes and resources in place to help you. We fully support all employees who take action and report their concerns. Remember that, if you do make a report, you are protected from any form of retaliation. </a:t>
            </a:r>
          </a:p>
          <a:p>
            <a:pPr marL="0" indent="0">
              <a:buNone/>
            </a:pPr>
            <a:endParaRPr lang="en-US" dirty="0"/>
          </a:p>
          <a:p>
            <a:r>
              <a:rPr lang="en-US" dirty="0"/>
              <a:t>Finally, remember it's up to all of us to promote an atmosphere of mutual respect in our workplace. We can do that by thinking carefully about the way we interact with each other, and by being sensitive to how our behaviors are perceived. </a:t>
            </a:r>
          </a:p>
          <a:p>
            <a:pPr marL="0" indent="0">
              <a:buNone/>
            </a:pPr>
            <a:endParaRPr lang="en-US" dirty="0"/>
          </a:p>
          <a:p>
            <a:pPr marL="0" indent="0">
              <a:buNone/>
            </a:pPr>
            <a:r>
              <a:rPr lang="en-US" b="1" dirty="0"/>
              <a:t>When we recognize and respond to inappropriate conduct, we make working together better for us all.</a:t>
            </a:r>
          </a:p>
          <a:p>
            <a:endParaRPr lang="en-GB" dirty="0"/>
          </a:p>
        </p:txBody>
      </p:sp>
    </p:spTree>
    <p:extLst>
      <p:ext uri="{BB962C8B-B14F-4D97-AF65-F5344CB8AC3E}">
        <p14:creationId xmlns:p14="http://schemas.microsoft.com/office/powerpoint/2010/main" val="4054411799"/>
      </p:ext>
    </p:extLst>
  </p:cSld>
  <p:clrMapOvr>
    <a:masterClrMapping/>
  </p:clrMapOvr>
  <mc:AlternateContent xmlns:mc="http://schemas.openxmlformats.org/markup-compatibility/2006" xmlns:p14="http://schemas.microsoft.com/office/powerpoint/2010/main">
    <mc:Choice Requires="p14">
      <p:transition spd="med" p14:dur="700" advClick="0" advTm="0">
        <p:fade/>
      </p:transition>
    </mc:Choice>
    <mc:Fallback xmlns="">
      <p:transition spd="med" advClick="0" advTm="0">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F4C4A9-E3EC-A044-BFA0-7D8F9235D0A6}"/>
              </a:ext>
            </a:extLst>
          </p:cNvPr>
          <p:cNvSpPr>
            <a:spLocks noGrp="1"/>
          </p:cNvSpPr>
          <p:nvPr>
            <p:ph type="title"/>
          </p:nvPr>
        </p:nvSpPr>
        <p:spPr/>
        <p:txBody>
          <a:bodyPr/>
          <a:lstStyle/>
          <a:p>
            <a:r>
              <a:rPr lang="en-US" dirty="0"/>
              <a:t>Additional Scenarios…Harassment</a:t>
            </a:r>
          </a:p>
        </p:txBody>
      </p:sp>
      <p:sp>
        <p:nvSpPr>
          <p:cNvPr id="4" name="Text Placeholder 3">
            <a:extLst>
              <a:ext uri="{FF2B5EF4-FFF2-40B4-BE49-F238E27FC236}">
                <a16:creationId xmlns:a16="http://schemas.microsoft.com/office/drawing/2014/main" id="{FAF16795-8308-5B4A-A8C6-7A81FBEFC570}"/>
              </a:ext>
            </a:extLst>
          </p:cNvPr>
          <p:cNvSpPr>
            <a:spLocks noGrp="1"/>
          </p:cNvSpPr>
          <p:nvPr>
            <p:ph type="body" sz="quarter" idx="11"/>
          </p:nvPr>
        </p:nvSpPr>
        <p:spPr>
          <a:xfrm>
            <a:off x="457199" y="1232873"/>
            <a:ext cx="7828947" cy="538623"/>
          </a:xfrm>
        </p:spPr>
        <p:txBody>
          <a:bodyPr/>
          <a:lstStyle/>
          <a:p>
            <a:pPr marL="0" indent="0">
              <a:buNone/>
            </a:pPr>
            <a:r>
              <a:rPr lang="en-US" sz="1600" dirty="0"/>
              <a:t>Discuss the following scenarios in small groups and consider the below discussion points before reporting back to the Group</a:t>
            </a:r>
            <a:r>
              <a:rPr lang="en-US" dirty="0"/>
              <a:t>:</a:t>
            </a:r>
          </a:p>
        </p:txBody>
      </p:sp>
      <p:sp>
        <p:nvSpPr>
          <p:cNvPr id="6" name="Rectangle 5">
            <a:extLst>
              <a:ext uri="{FF2B5EF4-FFF2-40B4-BE49-F238E27FC236}">
                <a16:creationId xmlns:a16="http://schemas.microsoft.com/office/drawing/2014/main" id="{78E16932-9B2D-4553-A220-19643B172B17}"/>
              </a:ext>
            </a:extLst>
          </p:cNvPr>
          <p:cNvSpPr/>
          <p:nvPr/>
        </p:nvSpPr>
        <p:spPr>
          <a:xfrm>
            <a:off x="743552" y="2091691"/>
            <a:ext cx="1985210" cy="520478"/>
          </a:xfrm>
          <a:prstGeom prst="rect">
            <a:avLst/>
          </a:prstGeom>
          <a:solidFill>
            <a:schemeClr val="tx2"/>
          </a:solidFill>
          <a:ln w="12700">
            <a:solidFill>
              <a:srgbClr val="6F787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900" b="1" dirty="0"/>
              <a:t>Scenario 1</a:t>
            </a:r>
          </a:p>
          <a:p>
            <a:pPr algn="ctr"/>
            <a:r>
              <a:rPr lang="en-US" sz="900" b="1" dirty="0"/>
              <a:t>“The Conversation” </a:t>
            </a:r>
          </a:p>
        </p:txBody>
      </p:sp>
      <p:sp>
        <p:nvSpPr>
          <p:cNvPr id="24" name="Rectangle 23">
            <a:extLst>
              <a:ext uri="{FF2B5EF4-FFF2-40B4-BE49-F238E27FC236}">
                <a16:creationId xmlns:a16="http://schemas.microsoft.com/office/drawing/2014/main" id="{A96E40DE-9019-48E9-A74A-5A1CD2AEA986}"/>
              </a:ext>
            </a:extLst>
          </p:cNvPr>
          <p:cNvSpPr/>
          <p:nvPr/>
        </p:nvSpPr>
        <p:spPr>
          <a:xfrm>
            <a:off x="3522245" y="2091689"/>
            <a:ext cx="1985210" cy="521208"/>
          </a:xfrm>
          <a:prstGeom prst="rect">
            <a:avLst/>
          </a:prstGeom>
          <a:solidFill>
            <a:schemeClr val="tx2"/>
          </a:solidFill>
          <a:ln w="12700">
            <a:solidFill>
              <a:srgbClr val="6F787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900" b="1" dirty="0"/>
              <a:t>Scenario 2</a:t>
            </a:r>
          </a:p>
          <a:p>
            <a:pPr algn="ctr"/>
            <a:r>
              <a:rPr lang="en-US" sz="900" b="1" dirty="0"/>
              <a:t>“The New Coworker”</a:t>
            </a:r>
          </a:p>
        </p:txBody>
      </p:sp>
      <p:sp>
        <p:nvSpPr>
          <p:cNvPr id="25" name="Rectangle 24">
            <a:extLst>
              <a:ext uri="{FF2B5EF4-FFF2-40B4-BE49-F238E27FC236}">
                <a16:creationId xmlns:a16="http://schemas.microsoft.com/office/drawing/2014/main" id="{E002055C-0B58-4771-A8BB-00E2E3CD4952}"/>
              </a:ext>
            </a:extLst>
          </p:cNvPr>
          <p:cNvSpPr/>
          <p:nvPr/>
        </p:nvSpPr>
        <p:spPr>
          <a:xfrm>
            <a:off x="6300938" y="2091689"/>
            <a:ext cx="1985210" cy="521208"/>
          </a:xfrm>
          <a:prstGeom prst="rect">
            <a:avLst/>
          </a:prstGeom>
          <a:solidFill>
            <a:schemeClr val="tx2"/>
          </a:solidFill>
          <a:ln w="12700">
            <a:solidFill>
              <a:srgbClr val="6F787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900" b="1" dirty="0"/>
              <a:t>Scenario 3</a:t>
            </a:r>
          </a:p>
          <a:p>
            <a:pPr algn="ctr"/>
            <a:r>
              <a:rPr lang="en-US" sz="900" b="1" dirty="0"/>
              <a:t>“The Messenger</a:t>
            </a:r>
          </a:p>
        </p:txBody>
      </p:sp>
      <p:sp>
        <p:nvSpPr>
          <p:cNvPr id="33" name="Freeform 21">
            <a:extLst>
              <a:ext uri="{FF2B5EF4-FFF2-40B4-BE49-F238E27FC236}">
                <a16:creationId xmlns:a16="http://schemas.microsoft.com/office/drawing/2014/main" id="{CCBAEC06-120C-4A0A-8C69-FB3579D1732B}"/>
              </a:ext>
            </a:extLst>
          </p:cNvPr>
          <p:cNvSpPr/>
          <p:nvPr/>
        </p:nvSpPr>
        <p:spPr>
          <a:xfrm>
            <a:off x="743552" y="2612169"/>
            <a:ext cx="1985210" cy="1291963"/>
          </a:xfrm>
          <a:custGeom>
            <a:avLst/>
            <a:gdLst>
              <a:gd name="connsiteX0" fmla="*/ 3175 w 2747048"/>
              <a:gd name="connsiteY0" fmla="*/ 482600 h 1504239"/>
              <a:gd name="connsiteX1" fmla="*/ 0 w 2747048"/>
              <a:gd name="connsiteY1" fmla="*/ 1376375 h 1504239"/>
              <a:gd name="connsiteX2" fmla="*/ 199238 w 2747048"/>
              <a:gd name="connsiteY2" fmla="*/ 1504239 h 1504239"/>
              <a:gd name="connsiteX3" fmla="*/ 394056 w 2747048"/>
              <a:gd name="connsiteY3" fmla="*/ 1376375 h 1504239"/>
              <a:gd name="connsiteX4" fmla="*/ 589725 w 2747048"/>
              <a:gd name="connsiteY4" fmla="*/ 1504239 h 1504239"/>
              <a:gd name="connsiteX5" fmla="*/ 785254 w 2747048"/>
              <a:gd name="connsiteY5" fmla="*/ 1376375 h 1504239"/>
              <a:gd name="connsiteX6" fmla="*/ 980466 w 2747048"/>
              <a:gd name="connsiteY6" fmla="*/ 1504239 h 1504239"/>
              <a:gd name="connsiteX7" fmla="*/ 1176833 w 2747048"/>
              <a:gd name="connsiteY7" fmla="*/ 1376375 h 1504239"/>
              <a:gd name="connsiteX8" fmla="*/ 1372439 w 2747048"/>
              <a:gd name="connsiteY8" fmla="*/ 1504239 h 1504239"/>
              <a:gd name="connsiteX9" fmla="*/ 1568425 w 2747048"/>
              <a:gd name="connsiteY9" fmla="*/ 1376375 h 1504239"/>
              <a:gd name="connsiteX10" fmla="*/ 1763433 w 2747048"/>
              <a:gd name="connsiteY10" fmla="*/ 1504239 h 1504239"/>
              <a:gd name="connsiteX11" fmla="*/ 1960398 w 2747048"/>
              <a:gd name="connsiteY11" fmla="*/ 1376375 h 1504239"/>
              <a:gd name="connsiteX12" fmla="*/ 2155406 w 2747048"/>
              <a:gd name="connsiteY12" fmla="*/ 1504239 h 1504239"/>
              <a:gd name="connsiteX13" fmla="*/ 2351393 w 2747048"/>
              <a:gd name="connsiteY13" fmla="*/ 1376375 h 1504239"/>
              <a:gd name="connsiteX14" fmla="*/ 2547379 w 2747048"/>
              <a:gd name="connsiteY14" fmla="*/ 1504239 h 1504239"/>
              <a:gd name="connsiteX15" fmla="*/ 2747048 w 2747048"/>
              <a:gd name="connsiteY15" fmla="*/ 1376375 h 1504239"/>
              <a:gd name="connsiteX16" fmla="*/ 2747048 w 2747048"/>
              <a:gd name="connsiteY16" fmla="*/ 0 h 1504239"/>
              <a:gd name="connsiteX17" fmla="*/ 3175 w 2747048"/>
              <a:gd name="connsiteY17" fmla="*/ 482600 h 1504239"/>
              <a:gd name="connsiteX0" fmla="*/ 3175 w 2747048"/>
              <a:gd name="connsiteY0" fmla="*/ 0 h 1021639"/>
              <a:gd name="connsiteX1" fmla="*/ 0 w 2747048"/>
              <a:gd name="connsiteY1" fmla="*/ 893775 h 1021639"/>
              <a:gd name="connsiteX2" fmla="*/ 199238 w 2747048"/>
              <a:gd name="connsiteY2" fmla="*/ 1021639 h 1021639"/>
              <a:gd name="connsiteX3" fmla="*/ 394056 w 2747048"/>
              <a:gd name="connsiteY3" fmla="*/ 893775 h 1021639"/>
              <a:gd name="connsiteX4" fmla="*/ 589725 w 2747048"/>
              <a:gd name="connsiteY4" fmla="*/ 1021639 h 1021639"/>
              <a:gd name="connsiteX5" fmla="*/ 785254 w 2747048"/>
              <a:gd name="connsiteY5" fmla="*/ 893775 h 1021639"/>
              <a:gd name="connsiteX6" fmla="*/ 980466 w 2747048"/>
              <a:gd name="connsiteY6" fmla="*/ 1021639 h 1021639"/>
              <a:gd name="connsiteX7" fmla="*/ 1176833 w 2747048"/>
              <a:gd name="connsiteY7" fmla="*/ 893775 h 1021639"/>
              <a:gd name="connsiteX8" fmla="*/ 1372439 w 2747048"/>
              <a:gd name="connsiteY8" fmla="*/ 1021639 h 1021639"/>
              <a:gd name="connsiteX9" fmla="*/ 1568425 w 2747048"/>
              <a:gd name="connsiteY9" fmla="*/ 893775 h 1021639"/>
              <a:gd name="connsiteX10" fmla="*/ 1763433 w 2747048"/>
              <a:gd name="connsiteY10" fmla="*/ 1021639 h 1021639"/>
              <a:gd name="connsiteX11" fmla="*/ 1960398 w 2747048"/>
              <a:gd name="connsiteY11" fmla="*/ 893775 h 1021639"/>
              <a:gd name="connsiteX12" fmla="*/ 2155406 w 2747048"/>
              <a:gd name="connsiteY12" fmla="*/ 1021639 h 1021639"/>
              <a:gd name="connsiteX13" fmla="*/ 2351393 w 2747048"/>
              <a:gd name="connsiteY13" fmla="*/ 893775 h 1021639"/>
              <a:gd name="connsiteX14" fmla="*/ 2547379 w 2747048"/>
              <a:gd name="connsiteY14" fmla="*/ 1021639 h 1021639"/>
              <a:gd name="connsiteX15" fmla="*/ 2747048 w 2747048"/>
              <a:gd name="connsiteY15" fmla="*/ 893775 h 1021639"/>
              <a:gd name="connsiteX16" fmla="*/ 2743873 w 2747048"/>
              <a:gd name="connsiteY16" fmla="*/ 0 h 1021639"/>
              <a:gd name="connsiteX17" fmla="*/ 3175 w 2747048"/>
              <a:gd name="connsiteY17" fmla="*/ 0 h 1021639"/>
              <a:gd name="connsiteX0" fmla="*/ 3175 w 2747048"/>
              <a:gd name="connsiteY0" fmla="*/ 51881 h 1021639"/>
              <a:gd name="connsiteX1" fmla="*/ 0 w 2747048"/>
              <a:gd name="connsiteY1" fmla="*/ 893775 h 1021639"/>
              <a:gd name="connsiteX2" fmla="*/ 199238 w 2747048"/>
              <a:gd name="connsiteY2" fmla="*/ 1021639 h 1021639"/>
              <a:gd name="connsiteX3" fmla="*/ 394056 w 2747048"/>
              <a:gd name="connsiteY3" fmla="*/ 893775 h 1021639"/>
              <a:gd name="connsiteX4" fmla="*/ 589725 w 2747048"/>
              <a:gd name="connsiteY4" fmla="*/ 1021639 h 1021639"/>
              <a:gd name="connsiteX5" fmla="*/ 785254 w 2747048"/>
              <a:gd name="connsiteY5" fmla="*/ 893775 h 1021639"/>
              <a:gd name="connsiteX6" fmla="*/ 980466 w 2747048"/>
              <a:gd name="connsiteY6" fmla="*/ 1021639 h 1021639"/>
              <a:gd name="connsiteX7" fmla="*/ 1176833 w 2747048"/>
              <a:gd name="connsiteY7" fmla="*/ 893775 h 1021639"/>
              <a:gd name="connsiteX8" fmla="*/ 1372439 w 2747048"/>
              <a:gd name="connsiteY8" fmla="*/ 1021639 h 1021639"/>
              <a:gd name="connsiteX9" fmla="*/ 1568425 w 2747048"/>
              <a:gd name="connsiteY9" fmla="*/ 893775 h 1021639"/>
              <a:gd name="connsiteX10" fmla="*/ 1763433 w 2747048"/>
              <a:gd name="connsiteY10" fmla="*/ 1021639 h 1021639"/>
              <a:gd name="connsiteX11" fmla="*/ 1960398 w 2747048"/>
              <a:gd name="connsiteY11" fmla="*/ 893775 h 1021639"/>
              <a:gd name="connsiteX12" fmla="*/ 2155406 w 2747048"/>
              <a:gd name="connsiteY12" fmla="*/ 1021639 h 1021639"/>
              <a:gd name="connsiteX13" fmla="*/ 2351393 w 2747048"/>
              <a:gd name="connsiteY13" fmla="*/ 893775 h 1021639"/>
              <a:gd name="connsiteX14" fmla="*/ 2547379 w 2747048"/>
              <a:gd name="connsiteY14" fmla="*/ 1021639 h 1021639"/>
              <a:gd name="connsiteX15" fmla="*/ 2747048 w 2747048"/>
              <a:gd name="connsiteY15" fmla="*/ 893775 h 1021639"/>
              <a:gd name="connsiteX16" fmla="*/ 2743873 w 2747048"/>
              <a:gd name="connsiteY16" fmla="*/ 0 h 1021639"/>
              <a:gd name="connsiteX17" fmla="*/ 3175 w 2747048"/>
              <a:gd name="connsiteY17" fmla="*/ 51881 h 1021639"/>
              <a:gd name="connsiteX0" fmla="*/ 3175 w 2747048"/>
              <a:gd name="connsiteY0" fmla="*/ 0 h 969758"/>
              <a:gd name="connsiteX1" fmla="*/ 0 w 2747048"/>
              <a:gd name="connsiteY1" fmla="*/ 841894 h 969758"/>
              <a:gd name="connsiteX2" fmla="*/ 199238 w 2747048"/>
              <a:gd name="connsiteY2" fmla="*/ 969758 h 969758"/>
              <a:gd name="connsiteX3" fmla="*/ 394056 w 2747048"/>
              <a:gd name="connsiteY3" fmla="*/ 841894 h 969758"/>
              <a:gd name="connsiteX4" fmla="*/ 589725 w 2747048"/>
              <a:gd name="connsiteY4" fmla="*/ 969758 h 969758"/>
              <a:gd name="connsiteX5" fmla="*/ 785254 w 2747048"/>
              <a:gd name="connsiteY5" fmla="*/ 841894 h 969758"/>
              <a:gd name="connsiteX6" fmla="*/ 980466 w 2747048"/>
              <a:gd name="connsiteY6" fmla="*/ 969758 h 969758"/>
              <a:gd name="connsiteX7" fmla="*/ 1176833 w 2747048"/>
              <a:gd name="connsiteY7" fmla="*/ 841894 h 969758"/>
              <a:gd name="connsiteX8" fmla="*/ 1372439 w 2747048"/>
              <a:gd name="connsiteY8" fmla="*/ 969758 h 969758"/>
              <a:gd name="connsiteX9" fmla="*/ 1568425 w 2747048"/>
              <a:gd name="connsiteY9" fmla="*/ 841894 h 969758"/>
              <a:gd name="connsiteX10" fmla="*/ 1763433 w 2747048"/>
              <a:gd name="connsiteY10" fmla="*/ 969758 h 969758"/>
              <a:gd name="connsiteX11" fmla="*/ 1960398 w 2747048"/>
              <a:gd name="connsiteY11" fmla="*/ 841894 h 969758"/>
              <a:gd name="connsiteX12" fmla="*/ 2155406 w 2747048"/>
              <a:gd name="connsiteY12" fmla="*/ 969758 h 969758"/>
              <a:gd name="connsiteX13" fmla="*/ 2351393 w 2747048"/>
              <a:gd name="connsiteY13" fmla="*/ 841894 h 969758"/>
              <a:gd name="connsiteX14" fmla="*/ 2547379 w 2747048"/>
              <a:gd name="connsiteY14" fmla="*/ 969758 h 969758"/>
              <a:gd name="connsiteX15" fmla="*/ 2747048 w 2747048"/>
              <a:gd name="connsiteY15" fmla="*/ 841894 h 969758"/>
              <a:gd name="connsiteX16" fmla="*/ 2743873 w 2747048"/>
              <a:gd name="connsiteY16" fmla="*/ 0 h 969758"/>
              <a:gd name="connsiteX17" fmla="*/ 3175 w 2747048"/>
              <a:gd name="connsiteY17" fmla="*/ 0 h 969758"/>
              <a:gd name="connsiteX0" fmla="*/ 297 w 2747412"/>
              <a:gd name="connsiteY0" fmla="*/ 3243 h 969758"/>
              <a:gd name="connsiteX1" fmla="*/ 364 w 2747412"/>
              <a:gd name="connsiteY1" fmla="*/ 841894 h 969758"/>
              <a:gd name="connsiteX2" fmla="*/ 199602 w 2747412"/>
              <a:gd name="connsiteY2" fmla="*/ 969758 h 969758"/>
              <a:gd name="connsiteX3" fmla="*/ 394420 w 2747412"/>
              <a:gd name="connsiteY3" fmla="*/ 841894 h 969758"/>
              <a:gd name="connsiteX4" fmla="*/ 590089 w 2747412"/>
              <a:gd name="connsiteY4" fmla="*/ 969758 h 969758"/>
              <a:gd name="connsiteX5" fmla="*/ 785618 w 2747412"/>
              <a:gd name="connsiteY5" fmla="*/ 841894 h 969758"/>
              <a:gd name="connsiteX6" fmla="*/ 980830 w 2747412"/>
              <a:gd name="connsiteY6" fmla="*/ 969758 h 969758"/>
              <a:gd name="connsiteX7" fmla="*/ 1177197 w 2747412"/>
              <a:gd name="connsiteY7" fmla="*/ 841894 h 969758"/>
              <a:gd name="connsiteX8" fmla="*/ 1372803 w 2747412"/>
              <a:gd name="connsiteY8" fmla="*/ 969758 h 969758"/>
              <a:gd name="connsiteX9" fmla="*/ 1568789 w 2747412"/>
              <a:gd name="connsiteY9" fmla="*/ 841894 h 969758"/>
              <a:gd name="connsiteX10" fmla="*/ 1763797 w 2747412"/>
              <a:gd name="connsiteY10" fmla="*/ 969758 h 969758"/>
              <a:gd name="connsiteX11" fmla="*/ 1960762 w 2747412"/>
              <a:gd name="connsiteY11" fmla="*/ 841894 h 969758"/>
              <a:gd name="connsiteX12" fmla="*/ 2155770 w 2747412"/>
              <a:gd name="connsiteY12" fmla="*/ 969758 h 969758"/>
              <a:gd name="connsiteX13" fmla="*/ 2351757 w 2747412"/>
              <a:gd name="connsiteY13" fmla="*/ 841894 h 969758"/>
              <a:gd name="connsiteX14" fmla="*/ 2547743 w 2747412"/>
              <a:gd name="connsiteY14" fmla="*/ 969758 h 969758"/>
              <a:gd name="connsiteX15" fmla="*/ 2747412 w 2747412"/>
              <a:gd name="connsiteY15" fmla="*/ 841894 h 969758"/>
              <a:gd name="connsiteX16" fmla="*/ 2744237 w 2747412"/>
              <a:gd name="connsiteY16" fmla="*/ 0 h 969758"/>
              <a:gd name="connsiteX17" fmla="*/ 297 w 2747412"/>
              <a:gd name="connsiteY17" fmla="*/ 3243 h 969758"/>
              <a:gd name="connsiteX0" fmla="*/ 297 w 2747412"/>
              <a:gd name="connsiteY0" fmla="*/ 0 h 973000"/>
              <a:gd name="connsiteX1" fmla="*/ 364 w 2747412"/>
              <a:gd name="connsiteY1" fmla="*/ 845136 h 973000"/>
              <a:gd name="connsiteX2" fmla="*/ 199602 w 2747412"/>
              <a:gd name="connsiteY2" fmla="*/ 973000 h 973000"/>
              <a:gd name="connsiteX3" fmla="*/ 394420 w 2747412"/>
              <a:gd name="connsiteY3" fmla="*/ 845136 h 973000"/>
              <a:gd name="connsiteX4" fmla="*/ 590089 w 2747412"/>
              <a:gd name="connsiteY4" fmla="*/ 973000 h 973000"/>
              <a:gd name="connsiteX5" fmla="*/ 785618 w 2747412"/>
              <a:gd name="connsiteY5" fmla="*/ 845136 h 973000"/>
              <a:gd name="connsiteX6" fmla="*/ 980830 w 2747412"/>
              <a:gd name="connsiteY6" fmla="*/ 973000 h 973000"/>
              <a:gd name="connsiteX7" fmla="*/ 1177197 w 2747412"/>
              <a:gd name="connsiteY7" fmla="*/ 845136 h 973000"/>
              <a:gd name="connsiteX8" fmla="*/ 1372803 w 2747412"/>
              <a:gd name="connsiteY8" fmla="*/ 973000 h 973000"/>
              <a:gd name="connsiteX9" fmla="*/ 1568789 w 2747412"/>
              <a:gd name="connsiteY9" fmla="*/ 845136 h 973000"/>
              <a:gd name="connsiteX10" fmla="*/ 1763797 w 2747412"/>
              <a:gd name="connsiteY10" fmla="*/ 973000 h 973000"/>
              <a:gd name="connsiteX11" fmla="*/ 1960762 w 2747412"/>
              <a:gd name="connsiteY11" fmla="*/ 845136 h 973000"/>
              <a:gd name="connsiteX12" fmla="*/ 2155770 w 2747412"/>
              <a:gd name="connsiteY12" fmla="*/ 973000 h 973000"/>
              <a:gd name="connsiteX13" fmla="*/ 2351757 w 2747412"/>
              <a:gd name="connsiteY13" fmla="*/ 845136 h 973000"/>
              <a:gd name="connsiteX14" fmla="*/ 2547743 w 2747412"/>
              <a:gd name="connsiteY14" fmla="*/ 973000 h 973000"/>
              <a:gd name="connsiteX15" fmla="*/ 2747412 w 2747412"/>
              <a:gd name="connsiteY15" fmla="*/ 845136 h 973000"/>
              <a:gd name="connsiteX16" fmla="*/ 2744237 w 2747412"/>
              <a:gd name="connsiteY16" fmla="*/ 3242 h 973000"/>
              <a:gd name="connsiteX17" fmla="*/ 297 w 2747412"/>
              <a:gd name="connsiteY17" fmla="*/ 0 h 973000"/>
              <a:gd name="connsiteX0" fmla="*/ 3175 w 2747048"/>
              <a:gd name="connsiteY0" fmla="*/ 0 h 973000"/>
              <a:gd name="connsiteX1" fmla="*/ 0 w 2747048"/>
              <a:gd name="connsiteY1" fmla="*/ 845136 h 973000"/>
              <a:gd name="connsiteX2" fmla="*/ 199238 w 2747048"/>
              <a:gd name="connsiteY2" fmla="*/ 973000 h 973000"/>
              <a:gd name="connsiteX3" fmla="*/ 394056 w 2747048"/>
              <a:gd name="connsiteY3" fmla="*/ 845136 h 973000"/>
              <a:gd name="connsiteX4" fmla="*/ 589725 w 2747048"/>
              <a:gd name="connsiteY4" fmla="*/ 973000 h 973000"/>
              <a:gd name="connsiteX5" fmla="*/ 785254 w 2747048"/>
              <a:gd name="connsiteY5" fmla="*/ 845136 h 973000"/>
              <a:gd name="connsiteX6" fmla="*/ 980466 w 2747048"/>
              <a:gd name="connsiteY6" fmla="*/ 973000 h 973000"/>
              <a:gd name="connsiteX7" fmla="*/ 1176833 w 2747048"/>
              <a:gd name="connsiteY7" fmla="*/ 845136 h 973000"/>
              <a:gd name="connsiteX8" fmla="*/ 1372439 w 2747048"/>
              <a:gd name="connsiteY8" fmla="*/ 973000 h 973000"/>
              <a:gd name="connsiteX9" fmla="*/ 1568425 w 2747048"/>
              <a:gd name="connsiteY9" fmla="*/ 845136 h 973000"/>
              <a:gd name="connsiteX10" fmla="*/ 1763433 w 2747048"/>
              <a:gd name="connsiteY10" fmla="*/ 973000 h 973000"/>
              <a:gd name="connsiteX11" fmla="*/ 1960398 w 2747048"/>
              <a:gd name="connsiteY11" fmla="*/ 845136 h 973000"/>
              <a:gd name="connsiteX12" fmla="*/ 2155406 w 2747048"/>
              <a:gd name="connsiteY12" fmla="*/ 973000 h 973000"/>
              <a:gd name="connsiteX13" fmla="*/ 2351393 w 2747048"/>
              <a:gd name="connsiteY13" fmla="*/ 845136 h 973000"/>
              <a:gd name="connsiteX14" fmla="*/ 2547379 w 2747048"/>
              <a:gd name="connsiteY14" fmla="*/ 973000 h 973000"/>
              <a:gd name="connsiteX15" fmla="*/ 2747048 w 2747048"/>
              <a:gd name="connsiteY15" fmla="*/ 845136 h 973000"/>
              <a:gd name="connsiteX16" fmla="*/ 2743873 w 2747048"/>
              <a:gd name="connsiteY16" fmla="*/ 3242 h 973000"/>
              <a:gd name="connsiteX17" fmla="*/ 3175 w 2747048"/>
              <a:gd name="connsiteY17" fmla="*/ 0 h 973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747048" h="973000">
                <a:moveTo>
                  <a:pt x="3175" y="0"/>
                </a:moveTo>
                <a:cubicBezTo>
                  <a:pt x="2117" y="297925"/>
                  <a:pt x="1058" y="547211"/>
                  <a:pt x="0" y="845136"/>
                </a:cubicBezTo>
                <a:lnTo>
                  <a:pt x="199238" y="973000"/>
                </a:lnTo>
                <a:lnTo>
                  <a:pt x="394056" y="845136"/>
                </a:lnTo>
                <a:lnTo>
                  <a:pt x="589725" y="973000"/>
                </a:lnTo>
                <a:lnTo>
                  <a:pt x="785254" y="845136"/>
                </a:lnTo>
                <a:lnTo>
                  <a:pt x="980466" y="973000"/>
                </a:lnTo>
                <a:lnTo>
                  <a:pt x="1176833" y="845136"/>
                </a:lnTo>
                <a:lnTo>
                  <a:pt x="1372439" y="973000"/>
                </a:lnTo>
                <a:lnTo>
                  <a:pt x="1568425" y="845136"/>
                </a:lnTo>
                <a:lnTo>
                  <a:pt x="1763433" y="973000"/>
                </a:lnTo>
                <a:lnTo>
                  <a:pt x="1960398" y="845136"/>
                </a:lnTo>
                <a:lnTo>
                  <a:pt x="2155406" y="973000"/>
                </a:lnTo>
                <a:lnTo>
                  <a:pt x="2351393" y="845136"/>
                </a:lnTo>
                <a:lnTo>
                  <a:pt x="2547379" y="973000"/>
                </a:lnTo>
                <a:lnTo>
                  <a:pt x="2747048" y="845136"/>
                </a:lnTo>
                <a:cubicBezTo>
                  <a:pt x="2745990" y="547211"/>
                  <a:pt x="2744931" y="301167"/>
                  <a:pt x="2743873" y="3242"/>
                </a:cubicBezTo>
                <a:lnTo>
                  <a:pt x="3175" y="0"/>
                </a:lnTo>
                <a:close/>
              </a:path>
            </a:pathLst>
          </a:custGeom>
          <a:solidFill>
            <a:srgbClr val="FEFFFE"/>
          </a:solidFill>
          <a:ln w="12700">
            <a:solidFill>
              <a:srgbClr val="6F7878"/>
            </a:solidFill>
          </a:ln>
        </p:spPr>
        <p:txBody>
          <a:bodyPr/>
          <a:lstStyle/>
          <a:p>
            <a:r>
              <a:rPr lang="en-US" sz="750" dirty="0"/>
              <a:t>You inadvertently walk in on two coworkers </a:t>
            </a:r>
            <a:r>
              <a:rPr lang="en-US" sz="750" b="1" dirty="0"/>
              <a:t>making negative comments about the weight of another coworker</a:t>
            </a:r>
            <a:r>
              <a:rPr lang="en-US" sz="750" dirty="0"/>
              <a:t>. They immediately stop talking when they realize you have heard them and leave the room. Later that week, you see them interacting positively with the coworker whose weight they were discussing earlier and it seems they have forgotten their earlier talk. </a:t>
            </a:r>
          </a:p>
        </p:txBody>
      </p:sp>
      <p:sp>
        <p:nvSpPr>
          <p:cNvPr id="41" name="TextBox 40">
            <a:extLst>
              <a:ext uri="{FF2B5EF4-FFF2-40B4-BE49-F238E27FC236}">
                <a16:creationId xmlns:a16="http://schemas.microsoft.com/office/drawing/2014/main" id="{9D6A0CF4-2957-4A48-9608-4D1FAB2D67F0}"/>
              </a:ext>
            </a:extLst>
          </p:cNvPr>
          <p:cNvSpPr txBox="1"/>
          <p:nvPr/>
        </p:nvSpPr>
        <p:spPr>
          <a:xfrm>
            <a:off x="743548" y="4138947"/>
            <a:ext cx="1935860" cy="946413"/>
          </a:xfrm>
          <a:prstGeom prst="rect">
            <a:avLst/>
          </a:prstGeom>
          <a:noFill/>
          <a:ln>
            <a:solidFill>
              <a:schemeClr val="tx1"/>
            </a:solidFill>
          </a:ln>
        </p:spPr>
        <p:txBody>
          <a:bodyPr wrap="square" lIns="68580" tIns="68580" bIns="68580" rtlCol="0">
            <a:spAutoFit/>
          </a:bodyPr>
          <a:lstStyle/>
          <a:p>
            <a:pPr marL="128588" indent="-128588">
              <a:buFont typeface="Arial" panose="020B0604020202020204" pitchFamily="34" charset="0"/>
              <a:buChar char="•"/>
            </a:pPr>
            <a:r>
              <a:rPr lang="en-US" sz="750" i="1" dirty="0"/>
              <a:t>Should you have handled this situation differently?</a:t>
            </a:r>
          </a:p>
          <a:p>
            <a:pPr marL="128588" indent="-128588">
              <a:buFont typeface="Arial" panose="020B0604020202020204" pitchFamily="34" charset="0"/>
              <a:buChar char="•"/>
            </a:pPr>
            <a:r>
              <a:rPr lang="en-US" sz="750" i="1" dirty="0"/>
              <a:t>Who could you have discussed this exchange with? </a:t>
            </a:r>
          </a:p>
          <a:p>
            <a:pPr marL="128588" indent="-128588">
              <a:buFont typeface="Arial" panose="020B0604020202020204" pitchFamily="34" charset="0"/>
              <a:buChar char="•"/>
            </a:pPr>
            <a:r>
              <a:rPr lang="en-US" sz="750" i="1" dirty="0"/>
              <a:t>What are your obligations to act based on your organization’s policies, like Code of Conduct? </a:t>
            </a:r>
          </a:p>
        </p:txBody>
      </p:sp>
      <p:sp>
        <p:nvSpPr>
          <p:cNvPr id="42" name="Rectangle 41">
            <a:extLst>
              <a:ext uri="{FF2B5EF4-FFF2-40B4-BE49-F238E27FC236}">
                <a16:creationId xmlns:a16="http://schemas.microsoft.com/office/drawing/2014/main" id="{D71635F5-324D-42F7-BE89-192EE74A5D63}"/>
              </a:ext>
            </a:extLst>
          </p:cNvPr>
          <p:cNvSpPr/>
          <p:nvPr/>
        </p:nvSpPr>
        <p:spPr>
          <a:xfrm>
            <a:off x="743551" y="3951760"/>
            <a:ext cx="1935860" cy="187187"/>
          </a:xfrm>
          <a:prstGeom prst="rect">
            <a:avLst/>
          </a:prstGeom>
          <a:solidFill>
            <a:srgbClr val="E81159"/>
          </a:solidFill>
          <a:ln w="12700">
            <a:solidFill>
              <a:srgbClr val="E8115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900" b="1" dirty="0"/>
              <a:t>Discussion </a:t>
            </a:r>
          </a:p>
        </p:txBody>
      </p:sp>
      <p:sp>
        <p:nvSpPr>
          <p:cNvPr id="14" name="Freeform 21">
            <a:extLst>
              <a:ext uri="{FF2B5EF4-FFF2-40B4-BE49-F238E27FC236}">
                <a16:creationId xmlns:a16="http://schemas.microsoft.com/office/drawing/2014/main" id="{7B414B28-097E-41A5-BC8D-45DF0547DA1D}"/>
              </a:ext>
            </a:extLst>
          </p:cNvPr>
          <p:cNvSpPr/>
          <p:nvPr/>
        </p:nvSpPr>
        <p:spPr>
          <a:xfrm>
            <a:off x="3522244" y="2612169"/>
            <a:ext cx="1985210" cy="1291963"/>
          </a:xfrm>
          <a:custGeom>
            <a:avLst/>
            <a:gdLst>
              <a:gd name="connsiteX0" fmla="*/ 3175 w 2747048"/>
              <a:gd name="connsiteY0" fmla="*/ 482600 h 1504239"/>
              <a:gd name="connsiteX1" fmla="*/ 0 w 2747048"/>
              <a:gd name="connsiteY1" fmla="*/ 1376375 h 1504239"/>
              <a:gd name="connsiteX2" fmla="*/ 199238 w 2747048"/>
              <a:gd name="connsiteY2" fmla="*/ 1504239 h 1504239"/>
              <a:gd name="connsiteX3" fmla="*/ 394056 w 2747048"/>
              <a:gd name="connsiteY3" fmla="*/ 1376375 h 1504239"/>
              <a:gd name="connsiteX4" fmla="*/ 589725 w 2747048"/>
              <a:gd name="connsiteY4" fmla="*/ 1504239 h 1504239"/>
              <a:gd name="connsiteX5" fmla="*/ 785254 w 2747048"/>
              <a:gd name="connsiteY5" fmla="*/ 1376375 h 1504239"/>
              <a:gd name="connsiteX6" fmla="*/ 980466 w 2747048"/>
              <a:gd name="connsiteY6" fmla="*/ 1504239 h 1504239"/>
              <a:gd name="connsiteX7" fmla="*/ 1176833 w 2747048"/>
              <a:gd name="connsiteY7" fmla="*/ 1376375 h 1504239"/>
              <a:gd name="connsiteX8" fmla="*/ 1372439 w 2747048"/>
              <a:gd name="connsiteY8" fmla="*/ 1504239 h 1504239"/>
              <a:gd name="connsiteX9" fmla="*/ 1568425 w 2747048"/>
              <a:gd name="connsiteY9" fmla="*/ 1376375 h 1504239"/>
              <a:gd name="connsiteX10" fmla="*/ 1763433 w 2747048"/>
              <a:gd name="connsiteY10" fmla="*/ 1504239 h 1504239"/>
              <a:gd name="connsiteX11" fmla="*/ 1960398 w 2747048"/>
              <a:gd name="connsiteY11" fmla="*/ 1376375 h 1504239"/>
              <a:gd name="connsiteX12" fmla="*/ 2155406 w 2747048"/>
              <a:gd name="connsiteY12" fmla="*/ 1504239 h 1504239"/>
              <a:gd name="connsiteX13" fmla="*/ 2351393 w 2747048"/>
              <a:gd name="connsiteY13" fmla="*/ 1376375 h 1504239"/>
              <a:gd name="connsiteX14" fmla="*/ 2547379 w 2747048"/>
              <a:gd name="connsiteY14" fmla="*/ 1504239 h 1504239"/>
              <a:gd name="connsiteX15" fmla="*/ 2747048 w 2747048"/>
              <a:gd name="connsiteY15" fmla="*/ 1376375 h 1504239"/>
              <a:gd name="connsiteX16" fmla="*/ 2747048 w 2747048"/>
              <a:gd name="connsiteY16" fmla="*/ 0 h 1504239"/>
              <a:gd name="connsiteX17" fmla="*/ 3175 w 2747048"/>
              <a:gd name="connsiteY17" fmla="*/ 482600 h 1504239"/>
              <a:gd name="connsiteX0" fmla="*/ 3175 w 2747048"/>
              <a:gd name="connsiteY0" fmla="*/ 0 h 1021639"/>
              <a:gd name="connsiteX1" fmla="*/ 0 w 2747048"/>
              <a:gd name="connsiteY1" fmla="*/ 893775 h 1021639"/>
              <a:gd name="connsiteX2" fmla="*/ 199238 w 2747048"/>
              <a:gd name="connsiteY2" fmla="*/ 1021639 h 1021639"/>
              <a:gd name="connsiteX3" fmla="*/ 394056 w 2747048"/>
              <a:gd name="connsiteY3" fmla="*/ 893775 h 1021639"/>
              <a:gd name="connsiteX4" fmla="*/ 589725 w 2747048"/>
              <a:gd name="connsiteY4" fmla="*/ 1021639 h 1021639"/>
              <a:gd name="connsiteX5" fmla="*/ 785254 w 2747048"/>
              <a:gd name="connsiteY5" fmla="*/ 893775 h 1021639"/>
              <a:gd name="connsiteX6" fmla="*/ 980466 w 2747048"/>
              <a:gd name="connsiteY6" fmla="*/ 1021639 h 1021639"/>
              <a:gd name="connsiteX7" fmla="*/ 1176833 w 2747048"/>
              <a:gd name="connsiteY7" fmla="*/ 893775 h 1021639"/>
              <a:gd name="connsiteX8" fmla="*/ 1372439 w 2747048"/>
              <a:gd name="connsiteY8" fmla="*/ 1021639 h 1021639"/>
              <a:gd name="connsiteX9" fmla="*/ 1568425 w 2747048"/>
              <a:gd name="connsiteY9" fmla="*/ 893775 h 1021639"/>
              <a:gd name="connsiteX10" fmla="*/ 1763433 w 2747048"/>
              <a:gd name="connsiteY10" fmla="*/ 1021639 h 1021639"/>
              <a:gd name="connsiteX11" fmla="*/ 1960398 w 2747048"/>
              <a:gd name="connsiteY11" fmla="*/ 893775 h 1021639"/>
              <a:gd name="connsiteX12" fmla="*/ 2155406 w 2747048"/>
              <a:gd name="connsiteY12" fmla="*/ 1021639 h 1021639"/>
              <a:gd name="connsiteX13" fmla="*/ 2351393 w 2747048"/>
              <a:gd name="connsiteY13" fmla="*/ 893775 h 1021639"/>
              <a:gd name="connsiteX14" fmla="*/ 2547379 w 2747048"/>
              <a:gd name="connsiteY14" fmla="*/ 1021639 h 1021639"/>
              <a:gd name="connsiteX15" fmla="*/ 2747048 w 2747048"/>
              <a:gd name="connsiteY15" fmla="*/ 893775 h 1021639"/>
              <a:gd name="connsiteX16" fmla="*/ 2743873 w 2747048"/>
              <a:gd name="connsiteY16" fmla="*/ 0 h 1021639"/>
              <a:gd name="connsiteX17" fmla="*/ 3175 w 2747048"/>
              <a:gd name="connsiteY17" fmla="*/ 0 h 1021639"/>
              <a:gd name="connsiteX0" fmla="*/ 3175 w 2747048"/>
              <a:gd name="connsiteY0" fmla="*/ 51881 h 1021639"/>
              <a:gd name="connsiteX1" fmla="*/ 0 w 2747048"/>
              <a:gd name="connsiteY1" fmla="*/ 893775 h 1021639"/>
              <a:gd name="connsiteX2" fmla="*/ 199238 w 2747048"/>
              <a:gd name="connsiteY2" fmla="*/ 1021639 h 1021639"/>
              <a:gd name="connsiteX3" fmla="*/ 394056 w 2747048"/>
              <a:gd name="connsiteY3" fmla="*/ 893775 h 1021639"/>
              <a:gd name="connsiteX4" fmla="*/ 589725 w 2747048"/>
              <a:gd name="connsiteY4" fmla="*/ 1021639 h 1021639"/>
              <a:gd name="connsiteX5" fmla="*/ 785254 w 2747048"/>
              <a:gd name="connsiteY5" fmla="*/ 893775 h 1021639"/>
              <a:gd name="connsiteX6" fmla="*/ 980466 w 2747048"/>
              <a:gd name="connsiteY6" fmla="*/ 1021639 h 1021639"/>
              <a:gd name="connsiteX7" fmla="*/ 1176833 w 2747048"/>
              <a:gd name="connsiteY7" fmla="*/ 893775 h 1021639"/>
              <a:gd name="connsiteX8" fmla="*/ 1372439 w 2747048"/>
              <a:gd name="connsiteY8" fmla="*/ 1021639 h 1021639"/>
              <a:gd name="connsiteX9" fmla="*/ 1568425 w 2747048"/>
              <a:gd name="connsiteY9" fmla="*/ 893775 h 1021639"/>
              <a:gd name="connsiteX10" fmla="*/ 1763433 w 2747048"/>
              <a:gd name="connsiteY10" fmla="*/ 1021639 h 1021639"/>
              <a:gd name="connsiteX11" fmla="*/ 1960398 w 2747048"/>
              <a:gd name="connsiteY11" fmla="*/ 893775 h 1021639"/>
              <a:gd name="connsiteX12" fmla="*/ 2155406 w 2747048"/>
              <a:gd name="connsiteY12" fmla="*/ 1021639 h 1021639"/>
              <a:gd name="connsiteX13" fmla="*/ 2351393 w 2747048"/>
              <a:gd name="connsiteY13" fmla="*/ 893775 h 1021639"/>
              <a:gd name="connsiteX14" fmla="*/ 2547379 w 2747048"/>
              <a:gd name="connsiteY14" fmla="*/ 1021639 h 1021639"/>
              <a:gd name="connsiteX15" fmla="*/ 2747048 w 2747048"/>
              <a:gd name="connsiteY15" fmla="*/ 893775 h 1021639"/>
              <a:gd name="connsiteX16" fmla="*/ 2743873 w 2747048"/>
              <a:gd name="connsiteY16" fmla="*/ 0 h 1021639"/>
              <a:gd name="connsiteX17" fmla="*/ 3175 w 2747048"/>
              <a:gd name="connsiteY17" fmla="*/ 51881 h 1021639"/>
              <a:gd name="connsiteX0" fmla="*/ 3175 w 2747048"/>
              <a:gd name="connsiteY0" fmla="*/ 0 h 969758"/>
              <a:gd name="connsiteX1" fmla="*/ 0 w 2747048"/>
              <a:gd name="connsiteY1" fmla="*/ 841894 h 969758"/>
              <a:gd name="connsiteX2" fmla="*/ 199238 w 2747048"/>
              <a:gd name="connsiteY2" fmla="*/ 969758 h 969758"/>
              <a:gd name="connsiteX3" fmla="*/ 394056 w 2747048"/>
              <a:gd name="connsiteY3" fmla="*/ 841894 h 969758"/>
              <a:gd name="connsiteX4" fmla="*/ 589725 w 2747048"/>
              <a:gd name="connsiteY4" fmla="*/ 969758 h 969758"/>
              <a:gd name="connsiteX5" fmla="*/ 785254 w 2747048"/>
              <a:gd name="connsiteY5" fmla="*/ 841894 h 969758"/>
              <a:gd name="connsiteX6" fmla="*/ 980466 w 2747048"/>
              <a:gd name="connsiteY6" fmla="*/ 969758 h 969758"/>
              <a:gd name="connsiteX7" fmla="*/ 1176833 w 2747048"/>
              <a:gd name="connsiteY7" fmla="*/ 841894 h 969758"/>
              <a:gd name="connsiteX8" fmla="*/ 1372439 w 2747048"/>
              <a:gd name="connsiteY8" fmla="*/ 969758 h 969758"/>
              <a:gd name="connsiteX9" fmla="*/ 1568425 w 2747048"/>
              <a:gd name="connsiteY9" fmla="*/ 841894 h 969758"/>
              <a:gd name="connsiteX10" fmla="*/ 1763433 w 2747048"/>
              <a:gd name="connsiteY10" fmla="*/ 969758 h 969758"/>
              <a:gd name="connsiteX11" fmla="*/ 1960398 w 2747048"/>
              <a:gd name="connsiteY11" fmla="*/ 841894 h 969758"/>
              <a:gd name="connsiteX12" fmla="*/ 2155406 w 2747048"/>
              <a:gd name="connsiteY12" fmla="*/ 969758 h 969758"/>
              <a:gd name="connsiteX13" fmla="*/ 2351393 w 2747048"/>
              <a:gd name="connsiteY13" fmla="*/ 841894 h 969758"/>
              <a:gd name="connsiteX14" fmla="*/ 2547379 w 2747048"/>
              <a:gd name="connsiteY14" fmla="*/ 969758 h 969758"/>
              <a:gd name="connsiteX15" fmla="*/ 2747048 w 2747048"/>
              <a:gd name="connsiteY15" fmla="*/ 841894 h 969758"/>
              <a:gd name="connsiteX16" fmla="*/ 2743873 w 2747048"/>
              <a:gd name="connsiteY16" fmla="*/ 0 h 969758"/>
              <a:gd name="connsiteX17" fmla="*/ 3175 w 2747048"/>
              <a:gd name="connsiteY17" fmla="*/ 0 h 969758"/>
              <a:gd name="connsiteX0" fmla="*/ 297 w 2747412"/>
              <a:gd name="connsiteY0" fmla="*/ 3243 h 969758"/>
              <a:gd name="connsiteX1" fmla="*/ 364 w 2747412"/>
              <a:gd name="connsiteY1" fmla="*/ 841894 h 969758"/>
              <a:gd name="connsiteX2" fmla="*/ 199602 w 2747412"/>
              <a:gd name="connsiteY2" fmla="*/ 969758 h 969758"/>
              <a:gd name="connsiteX3" fmla="*/ 394420 w 2747412"/>
              <a:gd name="connsiteY3" fmla="*/ 841894 h 969758"/>
              <a:gd name="connsiteX4" fmla="*/ 590089 w 2747412"/>
              <a:gd name="connsiteY4" fmla="*/ 969758 h 969758"/>
              <a:gd name="connsiteX5" fmla="*/ 785618 w 2747412"/>
              <a:gd name="connsiteY5" fmla="*/ 841894 h 969758"/>
              <a:gd name="connsiteX6" fmla="*/ 980830 w 2747412"/>
              <a:gd name="connsiteY6" fmla="*/ 969758 h 969758"/>
              <a:gd name="connsiteX7" fmla="*/ 1177197 w 2747412"/>
              <a:gd name="connsiteY7" fmla="*/ 841894 h 969758"/>
              <a:gd name="connsiteX8" fmla="*/ 1372803 w 2747412"/>
              <a:gd name="connsiteY8" fmla="*/ 969758 h 969758"/>
              <a:gd name="connsiteX9" fmla="*/ 1568789 w 2747412"/>
              <a:gd name="connsiteY9" fmla="*/ 841894 h 969758"/>
              <a:gd name="connsiteX10" fmla="*/ 1763797 w 2747412"/>
              <a:gd name="connsiteY10" fmla="*/ 969758 h 969758"/>
              <a:gd name="connsiteX11" fmla="*/ 1960762 w 2747412"/>
              <a:gd name="connsiteY11" fmla="*/ 841894 h 969758"/>
              <a:gd name="connsiteX12" fmla="*/ 2155770 w 2747412"/>
              <a:gd name="connsiteY12" fmla="*/ 969758 h 969758"/>
              <a:gd name="connsiteX13" fmla="*/ 2351757 w 2747412"/>
              <a:gd name="connsiteY13" fmla="*/ 841894 h 969758"/>
              <a:gd name="connsiteX14" fmla="*/ 2547743 w 2747412"/>
              <a:gd name="connsiteY14" fmla="*/ 969758 h 969758"/>
              <a:gd name="connsiteX15" fmla="*/ 2747412 w 2747412"/>
              <a:gd name="connsiteY15" fmla="*/ 841894 h 969758"/>
              <a:gd name="connsiteX16" fmla="*/ 2744237 w 2747412"/>
              <a:gd name="connsiteY16" fmla="*/ 0 h 969758"/>
              <a:gd name="connsiteX17" fmla="*/ 297 w 2747412"/>
              <a:gd name="connsiteY17" fmla="*/ 3243 h 969758"/>
              <a:gd name="connsiteX0" fmla="*/ 297 w 2747412"/>
              <a:gd name="connsiteY0" fmla="*/ 0 h 973000"/>
              <a:gd name="connsiteX1" fmla="*/ 364 w 2747412"/>
              <a:gd name="connsiteY1" fmla="*/ 845136 h 973000"/>
              <a:gd name="connsiteX2" fmla="*/ 199602 w 2747412"/>
              <a:gd name="connsiteY2" fmla="*/ 973000 h 973000"/>
              <a:gd name="connsiteX3" fmla="*/ 394420 w 2747412"/>
              <a:gd name="connsiteY3" fmla="*/ 845136 h 973000"/>
              <a:gd name="connsiteX4" fmla="*/ 590089 w 2747412"/>
              <a:gd name="connsiteY4" fmla="*/ 973000 h 973000"/>
              <a:gd name="connsiteX5" fmla="*/ 785618 w 2747412"/>
              <a:gd name="connsiteY5" fmla="*/ 845136 h 973000"/>
              <a:gd name="connsiteX6" fmla="*/ 980830 w 2747412"/>
              <a:gd name="connsiteY6" fmla="*/ 973000 h 973000"/>
              <a:gd name="connsiteX7" fmla="*/ 1177197 w 2747412"/>
              <a:gd name="connsiteY7" fmla="*/ 845136 h 973000"/>
              <a:gd name="connsiteX8" fmla="*/ 1372803 w 2747412"/>
              <a:gd name="connsiteY8" fmla="*/ 973000 h 973000"/>
              <a:gd name="connsiteX9" fmla="*/ 1568789 w 2747412"/>
              <a:gd name="connsiteY9" fmla="*/ 845136 h 973000"/>
              <a:gd name="connsiteX10" fmla="*/ 1763797 w 2747412"/>
              <a:gd name="connsiteY10" fmla="*/ 973000 h 973000"/>
              <a:gd name="connsiteX11" fmla="*/ 1960762 w 2747412"/>
              <a:gd name="connsiteY11" fmla="*/ 845136 h 973000"/>
              <a:gd name="connsiteX12" fmla="*/ 2155770 w 2747412"/>
              <a:gd name="connsiteY12" fmla="*/ 973000 h 973000"/>
              <a:gd name="connsiteX13" fmla="*/ 2351757 w 2747412"/>
              <a:gd name="connsiteY13" fmla="*/ 845136 h 973000"/>
              <a:gd name="connsiteX14" fmla="*/ 2547743 w 2747412"/>
              <a:gd name="connsiteY14" fmla="*/ 973000 h 973000"/>
              <a:gd name="connsiteX15" fmla="*/ 2747412 w 2747412"/>
              <a:gd name="connsiteY15" fmla="*/ 845136 h 973000"/>
              <a:gd name="connsiteX16" fmla="*/ 2744237 w 2747412"/>
              <a:gd name="connsiteY16" fmla="*/ 3242 h 973000"/>
              <a:gd name="connsiteX17" fmla="*/ 297 w 2747412"/>
              <a:gd name="connsiteY17" fmla="*/ 0 h 973000"/>
              <a:gd name="connsiteX0" fmla="*/ 3175 w 2747048"/>
              <a:gd name="connsiteY0" fmla="*/ 0 h 973000"/>
              <a:gd name="connsiteX1" fmla="*/ 0 w 2747048"/>
              <a:gd name="connsiteY1" fmla="*/ 845136 h 973000"/>
              <a:gd name="connsiteX2" fmla="*/ 199238 w 2747048"/>
              <a:gd name="connsiteY2" fmla="*/ 973000 h 973000"/>
              <a:gd name="connsiteX3" fmla="*/ 394056 w 2747048"/>
              <a:gd name="connsiteY3" fmla="*/ 845136 h 973000"/>
              <a:gd name="connsiteX4" fmla="*/ 589725 w 2747048"/>
              <a:gd name="connsiteY4" fmla="*/ 973000 h 973000"/>
              <a:gd name="connsiteX5" fmla="*/ 785254 w 2747048"/>
              <a:gd name="connsiteY5" fmla="*/ 845136 h 973000"/>
              <a:gd name="connsiteX6" fmla="*/ 980466 w 2747048"/>
              <a:gd name="connsiteY6" fmla="*/ 973000 h 973000"/>
              <a:gd name="connsiteX7" fmla="*/ 1176833 w 2747048"/>
              <a:gd name="connsiteY7" fmla="*/ 845136 h 973000"/>
              <a:gd name="connsiteX8" fmla="*/ 1372439 w 2747048"/>
              <a:gd name="connsiteY8" fmla="*/ 973000 h 973000"/>
              <a:gd name="connsiteX9" fmla="*/ 1568425 w 2747048"/>
              <a:gd name="connsiteY9" fmla="*/ 845136 h 973000"/>
              <a:gd name="connsiteX10" fmla="*/ 1763433 w 2747048"/>
              <a:gd name="connsiteY10" fmla="*/ 973000 h 973000"/>
              <a:gd name="connsiteX11" fmla="*/ 1960398 w 2747048"/>
              <a:gd name="connsiteY11" fmla="*/ 845136 h 973000"/>
              <a:gd name="connsiteX12" fmla="*/ 2155406 w 2747048"/>
              <a:gd name="connsiteY12" fmla="*/ 973000 h 973000"/>
              <a:gd name="connsiteX13" fmla="*/ 2351393 w 2747048"/>
              <a:gd name="connsiteY13" fmla="*/ 845136 h 973000"/>
              <a:gd name="connsiteX14" fmla="*/ 2547379 w 2747048"/>
              <a:gd name="connsiteY14" fmla="*/ 973000 h 973000"/>
              <a:gd name="connsiteX15" fmla="*/ 2747048 w 2747048"/>
              <a:gd name="connsiteY15" fmla="*/ 845136 h 973000"/>
              <a:gd name="connsiteX16" fmla="*/ 2743873 w 2747048"/>
              <a:gd name="connsiteY16" fmla="*/ 3242 h 973000"/>
              <a:gd name="connsiteX17" fmla="*/ 3175 w 2747048"/>
              <a:gd name="connsiteY17" fmla="*/ 0 h 973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747048" h="973000">
                <a:moveTo>
                  <a:pt x="3175" y="0"/>
                </a:moveTo>
                <a:cubicBezTo>
                  <a:pt x="2117" y="297925"/>
                  <a:pt x="1058" y="547211"/>
                  <a:pt x="0" y="845136"/>
                </a:cubicBezTo>
                <a:lnTo>
                  <a:pt x="199238" y="973000"/>
                </a:lnTo>
                <a:lnTo>
                  <a:pt x="394056" y="845136"/>
                </a:lnTo>
                <a:lnTo>
                  <a:pt x="589725" y="973000"/>
                </a:lnTo>
                <a:lnTo>
                  <a:pt x="785254" y="845136"/>
                </a:lnTo>
                <a:lnTo>
                  <a:pt x="980466" y="973000"/>
                </a:lnTo>
                <a:lnTo>
                  <a:pt x="1176833" y="845136"/>
                </a:lnTo>
                <a:lnTo>
                  <a:pt x="1372439" y="973000"/>
                </a:lnTo>
                <a:lnTo>
                  <a:pt x="1568425" y="845136"/>
                </a:lnTo>
                <a:lnTo>
                  <a:pt x="1763433" y="973000"/>
                </a:lnTo>
                <a:lnTo>
                  <a:pt x="1960398" y="845136"/>
                </a:lnTo>
                <a:lnTo>
                  <a:pt x="2155406" y="973000"/>
                </a:lnTo>
                <a:lnTo>
                  <a:pt x="2351393" y="845136"/>
                </a:lnTo>
                <a:lnTo>
                  <a:pt x="2547379" y="973000"/>
                </a:lnTo>
                <a:lnTo>
                  <a:pt x="2747048" y="845136"/>
                </a:lnTo>
                <a:cubicBezTo>
                  <a:pt x="2745990" y="547211"/>
                  <a:pt x="2744931" y="301167"/>
                  <a:pt x="2743873" y="3242"/>
                </a:cubicBezTo>
                <a:lnTo>
                  <a:pt x="3175" y="0"/>
                </a:lnTo>
                <a:close/>
              </a:path>
            </a:pathLst>
          </a:custGeom>
          <a:solidFill>
            <a:srgbClr val="FEFFFE"/>
          </a:solidFill>
          <a:ln w="12700">
            <a:solidFill>
              <a:srgbClr val="6F7878"/>
            </a:solidFill>
          </a:ln>
        </p:spPr>
        <p:txBody>
          <a:bodyPr/>
          <a:lstStyle/>
          <a:p>
            <a:r>
              <a:rPr lang="en-US" sz="750" dirty="0"/>
              <a:t>A new colleague from overseas joins your team. Some of your team members have played some lighthearted jokes on him and have </a:t>
            </a:r>
            <a:r>
              <a:rPr lang="en-US" sz="750" b="1" dirty="0"/>
              <a:t>teased him about his age and “funny” accent</a:t>
            </a:r>
            <a:r>
              <a:rPr lang="en-US" sz="750" dirty="0"/>
              <a:t>. He seems to have taken all the teasing well so far and appears to be enjoying his work. Your common manager also says he is acclimating well and has made a seamless transition into your team. </a:t>
            </a:r>
          </a:p>
        </p:txBody>
      </p:sp>
      <p:sp>
        <p:nvSpPr>
          <p:cNvPr id="15" name="Freeform 21">
            <a:extLst>
              <a:ext uri="{FF2B5EF4-FFF2-40B4-BE49-F238E27FC236}">
                <a16:creationId xmlns:a16="http://schemas.microsoft.com/office/drawing/2014/main" id="{B5FF4012-4D0D-472C-88E1-E185FD248A23}"/>
              </a:ext>
            </a:extLst>
          </p:cNvPr>
          <p:cNvSpPr/>
          <p:nvPr/>
        </p:nvSpPr>
        <p:spPr>
          <a:xfrm>
            <a:off x="6300937" y="2612168"/>
            <a:ext cx="1985210" cy="1291963"/>
          </a:xfrm>
          <a:custGeom>
            <a:avLst/>
            <a:gdLst>
              <a:gd name="connsiteX0" fmla="*/ 3175 w 2747048"/>
              <a:gd name="connsiteY0" fmla="*/ 482600 h 1504239"/>
              <a:gd name="connsiteX1" fmla="*/ 0 w 2747048"/>
              <a:gd name="connsiteY1" fmla="*/ 1376375 h 1504239"/>
              <a:gd name="connsiteX2" fmla="*/ 199238 w 2747048"/>
              <a:gd name="connsiteY2" fmla="*/ 1504239 h 1504239"/>
              <a:gd name="connsiteX3" fmla="*/ 394056 w 2747048"/>
              <a:gd name="connsiteY3" fmla="*/ 1376375 h 1504239"/>
              <a:gd name="connsiteX4" fmla="*/ 589725 w 2747048"/>
              <a:gd name="connsiteY4" fmla="*/ 1504239 h 1504239"/>
              <a:gd name="connsiteX5" fmla="*/ 785254 w 2747048"/>
              <a:gd name="connsiteY5" fmla="*/ 1376375 h 1504239"/>
              <a:gd name="connsiteX6" fmla="*/ 980466 w 2747048"/>
              <a:gd name="connsiteY6" fmla="*/ 1504239 h 1504239"/>
              <a:gd name="connsiteX7" fmla="*/ 1176833 w 2747048"/>
              <a:gd name="connsiteY7" fmla="*/ 1376375 h 1504239"/>
              <a:gd name="connsiteX8" fmla="*/ 1372439 w 2747048"/>
              <a:gd name="connsiteY8" fmla="*/ 1504239 h 1504239"/>
              <a:gd name="connsiteX9" fmla="*/ 1568425 w 2747048"/>
              <a:gd name="connsiteY9" fmla="*/ 1376375 h 1504239"/>
              <a:gd name="connsiteX10" fmla="*/ 1763433 w 2747048"/>
              <a:gd name="connsiteY10" fmla="*/ 1504239 h 1504239"/>
              <a:gd name="connsiteX11" fmla="*/ 1960398 w 2747048"/>
              <a:gd name="connsiteY11" fmla="*/ 1376375 h 1504239"/>
              <a:gd name="connsiteX12" fmla="*/ 2155406 w 2747048"/>
              <a:gd name="connsiteY12" fmla="*/ 1504239 h 1504239"/>
              <a:gd name="connsiteX13" fmla="*/ 2351393 w 2747048"/>
              <a:gd name="connsiteY13" fmla="*/ 1376375 h 1504239"/>
              <a:gd name="connsiteX14" fmla="*/ 2547379 w 2747048"/>
              <a:gd name="connsiteY14" fmla="*/ 1504239 h 1504239"/>
              <a:gd name="connsiteX15" fmla="*/ 2747048 w 2747048"/>
              <a:gd name="connsiteY15" fmla="*/ 1376375 h 1504239"/>
              <a:gd name="connsiteX16" fmla="*/ 2747048 w 2747048"/>
              <a:gd name="connsiteY16" fmla="*/ 0 h 1504239"/>
              <a:gd name="connsiteX17" fmla="*/ 3175 w 2747048"/>
              <a:gd name="connsiteY17" fmla="*/ 482600 h 1504239"/>
              <a:gd name="connsiteX0" fmla="*/ 3175 w 2747048"/>
              <a:gd name="connsiteY0" fmla="*/ 0 h 1021639"/>
              <a:gd name="connsiteX1" fmla="*/ 0 w 2747048"/>
              <a:gd name="connsiteY1" fmla="*/ 893775 h 1021639"/>
              <a:gd name="connsiteX2" fmla="*/ 199238 w 2747048"/>
              <a:gd name="connsiteY2" fmla="*/ 1021639 h 1021639"/>
              <a:gd name="connsiteX3" fmla="*/ 394056 w 2747048"/>
              <a:gd name="connsiteY3" fmla="*/ 893775 h 1021639"/>
              <a:gd name="connsiteX4" fmla="*/ 589725 w 2747048"/>
              <a:gd name="connsiteY4" fmla="*/ 1021639 h 1021639"/>
              <a:gd name="connsiteX5" fmla="*/ 785254 w 2747048"/>
              <a:gd name="connsiteY5" fmla="*/ 893775 h 1021639"/>
              <a:gd name="connsiteX6" fmla="*/ 980466 w 2747048"/>
              <a:gd name="connsiteY6" fmla="*/ 1021639 h 1021639"/>
              <a:gd name="connsiteX7" fmla="*/ 1176833 w 2747048"/>
              <a:gd name="connsiteY7" fmla="*/ 893775 h 1021639"/>
              <a:gd name="connsiteX8" fmla="*/ 1372439 w 2747048"/>
              <a:gd name="connsiteY8" fmla="*/ 1021639 h 1021639"/>
              <a:gd name="connsiteX9" fmla="*/ 1568425 w 2747048"/>
              <a:gd name="connsiteY9" fmla="*/ 893775 h 1021639"/>
              <a:gd name="connsiteX10" fmla="*/ 1763433 w 2747048"/>
              <a:gd name="connsiteY10" fmla="*/ 1021639 h 1021639"/>
              <a:gd name="connsiteX11" fmla="*/ 1960398 w 2747048"/>
              <a:gd name="connsiteY11" fmla="*/ 893775 h 1021639"/>
              <a:gd name="connsiteX12" fmla="*/ 2155406 w 2747048"/>
              <a:gd name="connsiteY12" fmla="*/ 1021639 h 1021639"/>
              <a:gd name="connsiteX13" fmla="*/ 2351393 w 2747048"/>
              <a:gd name="connsiteY13" fmla="*/ 893775 h 1021639"/>
              <a:gd name="connsiteX14" fmla="*/ 2547379 w 2747048"/>
              <a:gd name="connsiteY14" fmla="*/ 1021639 h 1021639"/>
              <a:gd name="connsiteX15" fmla="*/ 2747048 w 2747048"/>
              <a:gd name="connsiteY15" fmla="*/ 893775 h 1021639"/>
              <a:gd name="connsiteX16" fmla="*/ 2743873 w 2747048"/>
              <a:gd name="connsiteY16" fmla="*/ 0 h 1021639"/>
              <a:gd name="connsiteX17" fmla="*/ 3175 w 2747048"/>
              <a:gd name="connsiteY17" fmla="*/ 0 h 1021639"/>
              <a:gd name="connsiteX0" fmla="*/ 3175 w 2747048"/>
              <a:gd name="connsiteY0" fmla="*/ 51881 h 1021639"/>
              <a:gd name="connsiteX1" fmla="*/ 0 w 2747048"/>
              <a:gd name="connsiteY1" fmla="*/ 893775 h 1021639"/>
              <a:gd name="connsiteX2" fmla="*/ 199238 w 2747048"/>
              <a:gd name="connsiteY2" fmla="*/ 1021639 h 1021639"/>
              <a:gd name="connsiteX3" fmla="*/ 394056 w 2747048"/>
              <a:gd name="connsiteY3" fmla="*/ 893775 h 1021639"/>
              <a:gd name="connsiteX4" fmla="*/ 589725 w 2747048"/>
              <a:gd name="connsiteY4" fmla="*/ 1021639 h 1021639"/>
              <a:gd name="connsiteX5" fmla="*/ 785254 w 2747048"/>
              <a:gd name="connsiteY5" fmla="*/ 893775 h 1021639"/>
              <a:gd name="connsiteX6" fmla="*/ 980466 w 2747048"/>
              <a:gd name="connsiteY6" fmla="*/ 1021639 h 1021639"/>
              <a:gd name="connsiteX7" fmla="*/ 1176833 w 2747048"/>
              <a:gd name="connsiteY7" fmla="*/ 893775 h 1021639"/>
              <a:gd name="connsiteX8" fmla="*/ 1372439 w 2747048"/>
              <a:gd name="connsiteY8" fmla="*/ 1021639 h 1021639"/>
              <a:gd name="connsiteX9" fmla="*/ 1568425 w 2747048"/>
              <a:gd name="connsiteY9" fmla="*/ 893775 h 1021639"/>
              <a:gd name="connsiteX10" fmla="*/ 1763433 w 2747048"/>
              <a:gd name="connsiteY10" fmla="*/ 1021639 h 1021639"/>
              <a:gd name="connsiteX11" fmla="*/ 1960398 w 2747048"/>
              <a:gd name="connsiteY11" fmla="*/ 893775 h 1021639"/>
              <a:gd name="connsiteX12" fmla="*/ 2155406 w 2747048"/>
              <a:gd name="connsiteY12" fmla="*/ 1021639 h 1021639"/>
              <a:gd name="connsiteX13" fmla="*/ 2351393 w 2747048"/>
              <a:gd name="connsiteY13" fmla="*/ 893775 h 1021639"/>
              <a:gd name="connsiteX14" fmla="*/ 2547379 w 2747048"/>
              <a:gd name="connsiteY14" fmla="*/ 1021639 h 1021639"/>
              <a:gd name="connsiteX15" fmla="*/ 2747048 w 2747048"/>
              <a:gd name="connsiteY15" fmla="*/ 893775 h 1021639"/>
              <a:gd name="connsiteX16" fmla="*/ 2743873 w 2747048"/>
              <a:gd name="connsiteY16" fmla="*/ 0 h 1021639"/>
              <a:gd name="connsiteX17" fmla="*/ 3175 w 2747048"/>
              <a:gd name="connsiteY17" fmla="*/ 51881 h 1021639"/>
              <a:gd name="connsiteX0" fmla="*/ 3175 w 2747048"/>
              <a:gd name="connsiteY0" fmla="*/ 0 h 969758"/>
              <a:gd name="connsiteX1" fmla="*/ 0 w 2747048"/>
              <a:gd name="connsiteY1" fmla="*/ 841894 h 969758"/>
              <a:gd name="connsiteX2" fmla="*/ 199238 w 2747048"/>
              <a:gd name="connsiteY2" fmla="*/ 969758 h 969758"/>
              <a:gd name="connsiteX3" fmla="*/ 394056 w 2747048"/>
              <a:gd name="connsiteY3" fmla="*/ 841894 h 969758"/>
              <a:gd name="connsiteX4" fmla="*/ 589725 w 2747048"/>
              <a:gd name="connsiteY4" fmla="*/ 969758 h 969758"/>
              <a:gd name="connsiteX5" fmla="*/ 785254 w 2747048"/>
              <a:gd name="connsiteY5" fmla="*/ 841894 h 969758"/>
              <a:gd name="connsiteX6" fmla="*/ 980466 w 2747048"/>
              <a:gd name="connsiteY6" fmla="*/ 969758 h 969758"/>
              <a:gd name="connsiteX7" fmla="*/ 1176833 w 2747048"/>
              <a:gd name="connsiteY7" fmla="*/ 841894 h 969758"/>
              <a:gd name="connsiteX8" fmla="*/ 1372439 w 2747048"/>
              <a:gd name="connsiteY8" fmla="*/ 969758 h 969758"/>
              <a:gd name="connsiteX9" fmla="*/ 1568425 w 2747048"/>
              <a:gd name="connsiteY9" fmla="*/ 841894 h 969758"/>
              <a:gd name="connsiteX10" fmla="*/ 1763433 w 2747048"/>
              <a:gd name="connsiteY10" fmla="*/ 969758 h 969758"/>
              <a:gd name="connsiteX11" fmla="*/ 1960398 w 2747048"/>
              <a:gd name="connsiteY11" fmla="*/ 841894 h 969758"/>
              <a:gd name="connsiteX12" fmla="*/ 2155406 w 2747048"/>
              <a:gd name="connsiteY12" fmla="*/ 969758 h 969758"/>
              <a:gd name="connsiteX13" fmla="*/ 2351393 w 2747048"/>
              <a:gd name="connsiteY13" fmla="*/ 841894 h 969758"/>
              <a:gd name="connsiteX14" fmla="*/ 2547379 w 2747048"/>
              <a:gd name="connsiteY14" fmla="*/ 969758 h 969758"/>
              <a:gd name="connsiteX15" fmla="*/ 2747048 w 2747048"/>
              <a:gd name="connsiteY15" fmla="*/ 841894 h 969758"/>
              <a:gd name="connsiteX16" fmla="*/ 2743873 w 2747048"/>
              <a:gd name="connsiteY16" fmla="*/ 0 h 969758"/>
              <a:gd name="connsiteX17" fmla="*/ 3175 w 2747048"/>
              <a:gd name="connsiteY17" fmla="*/ 0 h 969758"/>
              <a:gd name="connsiteX0" fmla="*/ 297 w 2747412"/>
              <a:gd name="connsiteY0" fmla="*/ 3243 h 969758"/>
              <a:gd name="connsiteX1" fmla="*/ 364 w 2747412"/>
              <a:gd name="connsiteY1" fmla="*/ 841894 h 969758"/>
              <a:gd name="connsiteX2" fmla="*/ 199602 w 2747412"/>
              <a:gd name="connsiteY2" fmla="*/ 969758 h 969758"/>
              <a:gd name="connsiteX3" fmla="*/ 394420 w 2747412"/>
              <a:gd name="connsiteY3" fmla="*/ 841894 h 969758"/>
              <a:gd name="connsiteX4" fmla="*/ 590089 w 2747412"/>
              <a:gd name="connsiteY4" fmla="*/ 969758 h 969758"/>
              <a:gd name="connsiteX5" fmla="*/ 785618 w 2747412"/>
              <a:gd name="connsiteY5" fmla="*/ 841894 h 969758"/>
              <a:gd name="connsiteX6" fmla="*/ 980830 w 2747412"/>
              <a:gd name="connsiteY6" fmla="*/ 969758 h 969758"/>
              <a:gd name="connsiteX7" fmla="*/ 1177197 w 2747412"/>
              <a:gd name="connsiteY7" fmla="*/ 841894 h 969758"/>
              <a:gd name="connsiteX8" fmla="*/ 1372803 w 2747412"/>
              <a:gd name="connsiteY8" fmla="*/ 969758 h 969758"/>
              <a:gd name="connsiteX9" fmla="*/ 1568789 w 2747412"/>
              <a:gd name="connsiteY9" fmla="*/ 841894 h 969758"/>
              <a:gd name="connsiteX10" fmla="*/ 1763797 w 2747412"/>
              <a:gd name="connsiteY10" fmla="*/ 969758 h 969758"/>
              <a:gd name="connsiteX11" fmla="*/ 1960762 w 2747412"/>
              <a:gd name="connsiteY11" fmla="*/ 841894 h 969758"/>
              <a:gd name="connsiteX12" fmla="*/ 2155770 w 2747412"/>
              <a:gd name="connsiteY12" fmla="*/ 969758 h 969758"/>
              <a:gd name="connsiteX13" fmla="*/ 2351757 w 2747412"/>
              <a:gd name="connsiteY13" fmla="*/ 841894 h 969758"/>
              <a:gd name="connsiteX14" fmla="*/ 2547743 w 2747412"/>
              <a:gd name="connsiteY14" fmla="*/ 969758 h 969758"/>
              <a:gd name="connsiteX15" fmla="*/ 2747412 w 2747412"/>
              <a:gd name="connsiteY15" fmla="*/ 841894 h 969758"/>
              <a:gd name="connsiteX16" fmla="*/ 2744237 w 2747412"/>
              <a:gd name="connsiteY16" fmla="*/ 0 h 969758"/>
              <a:gd name="connsiteX17" fmla="*/ 297 w 2747412"/>
              <a:gd name="connsiteY17" fmla="*/ 3243 h 969758"/>
              <a:gd name="connsiteX0" fmla="*/ 297 w 2747412"/>
              <a:gd name="connsiteY0" fmla="*/ 0 h 973000"/>
              <a:gd name="connsiteX1" fmla="*/ 364 w 2747412"/>
              <a:gd name="connsiteY1" fmla="*/ 845136 h 973000"/>
              <a:gd name="connsiteX2" fmla="*/ 199602 w 2747412"/>
              <a:gd name="connsiteY2" fmla="*/ 973000 h 973000"/>
              <a:gd name="connsiteX3" fmla="*/ 394420 w 2747412"/>
              <a:gd name="connsiteY3" fmla="*/ 845136 h 973000"/>
              <a:gd name="connsiteX4" fmla="*/ 590089 w 2747412"/>
              <a:gd name="connsiteY4" fmla="*/ 973000 h 973000"/>
              <a:gd name="connsiteX5" fmla="*/ 785618 w 2747412"/>
              <a:gd name="connsiteY5" fmla="*/ 845136 h 973000"/>
              <a:gd name="connsiteX6" fmla="*/ 980830 w 2747412"/>
              <a:gd name="connsiteY6" fmla="*/ 973000 h 973000"/>
              <a:gd name="connsiteX7" fmla="*/ 1177197 w 2747412"/>
              <a:gd name="connsiteY7" fmla="*/ 845136 h 973000"/>
              <a:gd name="connsiteX8" fmla="*/ 1372803 w 2747412"/>
              <a:gd name="connsiteY8" fmla="*/ 973000 h 973000"/>
              <a:gd name="connsiteX9" fmla="*/ 1568789 w 2747412"/>
              <a:gd name="connsiteY9" fmla="*/ 845136 h 973000"/>
              <a:gd name="connsiteX10" fmla="*/ 1763797 w 2747412"/>
              <a:gd name="connsiteY10" fmla="*/ 973000 h 973000"/>
              <a:gd name="connsiteX11" fmla="*/ 1960762 w 2747412"/>
              <a:gd name="connsiteY11" fmla="*/ 845136 h 973000"/>
              <a:gd name="connsiteX12" fmla="*/ 2155770 w 2747412"/>
              <a:gd name="connsiteY12" fmla="*/ 973000 h 973000"/>
              <a:gd name="connsiteX13" fmla="*/ 2351757 w 2747412"/>
              <a:gd name="connsiteY13" fmla="*/ 845136 h 973000"/>
              <a:gd name="connsiteX14" fmla="*/ 2547743 w 2747412"/>
              <a:gd name="connsiteY14" fmla="*/ 973000 h 973000"/>
              <a:gd name="connsiteX15" fmla="*/ 2747412 w 2747412"/>
              <a:gd name="connsiteY15" fmla="*/ 845136 h 973000"/>
              <a:gd name="connsiteX16" fmla="*/ 2744237 w 2747412"/>
              <a:gd name="connsiteY16" fmla="*/ 3242 h 973000"/>
              <a:gd name="connsiteX17" fmla="*/ 297 w 2747412"/>
              <a:gd name="connsiteY17" fmla="*/ 0 h 973000"/>
              <a:gd name="connsiteX0" fmla="*/ 3175 w 2747048"/>
              <a:gd name="connsiteY0" fmla="*/ 0 h 973000"/>
              <a:gd name="connsiteX1" fmla="*/ 0 w 2747048"/>
              <a:gd name="connsiteY1" fmla="*/ 845136 h 973000"/>
              <a:gd name="connsiteX2" fmla="*/ 199238 w 2747048"/>
              <a:gd name="connsiteY2" fmla="*/ 973000 h 973000"/>
              <a:gd name="connsiteX3" fmla="*/ 394056 w 2747048"/>
              <a:gd name="connsiteY3" fmla="*/ 845136 h 973000"/>
              <a:gd name="connsiteX4" fmla="*/ 589725 w 2747048"/>
              <a:gd name="connsiteY4" fmla="*/ 973000 h 973000"/>
              <a:gd name="connsiteX5" fmla="*/ 785254 w 2747048"/>
              <a:gd name="connsiteY5" fmla="*/ 845136 h 973000"/>
              <a:gd name="connsiteX6" fmla="*/ 980466 w 2747048"/>
              <a:gd name="connsiteY6" fmla="*/ 973000 h 973000"/>
              <a:gd name="connsiteX7" fmla="*/ 1176833 w 2747048"/>
              <a:gd name="connsiteY7" fmla="*/ 845136 h 973000"/>
              <a:gd name="connsiteX8" fmla="*/ 1372439 w 2747048"/>
              <a:gd name="connsiteY8" fmla="*/ 973000 h 973000"/>
              <a:gd name="connsiteX9" fmla="*/ 1568425 w 2747048"/>
              <a:gd name="connsiteY9" fmla="*/ 845136 h 973000"/>
              <a:gd name="connsiteX10" fmla="*/ 1763433 w 2747048"/>
              <a:gd name="connsiteY10" fmla="*/ 973000 h 973000"/>
              <a:gd name="connsiteX11" fmla="*/ 1960398 w 2747048"/>
              <a:gd name="connsiteY11" fmla="*/ 845136 h 973000"/>
              <a:gd name="connsiteX12" fmla="*/ 2155406 w 2747048"/>
              <a:gd name="connsiteY12" fmla="*/ 973000 h 973000"/>
              <a:gd name="connsiteX13" fmla="*/ 2351393 w 2747048"/>
              <a:gd name="connsiteY13" fmla="*/ 845136 h 973000"/>
              <a:gd name="connsiteX14" fmla="*/ 2547379 w 2747048"/>
              <a:gd name="connsiteY14" fmla="*/ 973000 h 973000"/>
              <a:gd name="connsiteX15" fmla="*/ 2747048 w 2747048"/>
              <a:gd name="connsiteY15" fmla="*/ 845136 h 973000"/>
              <a:gd name="connsiteX16" fmla="*/ 2743873 w 2747048"/>
              <a:gd name="connsiteY16" fmla="*/ 3242 h 973000"/>
              <a:gd name="connsiteX17" fmla="*/ 3175 w 2747048"/>
              <a:gd name="connsiteY17" fmla="*/ 0 h 973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747048" h="973000">
                <a:moveTo>
                  <a:pt x="3175" y="0"/>
                </a:moveTo>
                <a:cubicBezTo>
                  <a:pt x="2117" y="297925"/>
                  <a:pt x="1058" y="547211"/>
                  <a:pt x="0" y="845136"/>
                </a:cubicBezTo>
                <a:lnTo>
                  <a:pt x="199238" y="973000"/>
                </a:lnTo>
                <a:lnTo>
                  <a:pt x="394056" y="845136"/>
                </a:lnTo>
                <a:lnTo>
                  <a:pt x="589725" y="973000"/>
                </a:lnTo>
                <a:lnTo>
                  <a:pt x="785254" y="845136"/>
                </a:lnTo>
                <a:lnTo>
                  <a:pt x="980466" y="973000"/>
                </a:lnTo>
                <a:lnTo>
                  <a:pt x="1176833" y="845136"/>
                </a:lnTo>
                <a:lnTo>
                  <a:pt x="1372439" y="973000"/>
                </a:lnTo>
                <a:lnTo>
                  <a:pt x="1568425" y="845136"/>
                </a:lnTo>
                <a:lnTo>
                  <a:pt x="1763433" y="973000"/>
                </a:lnTo>
                <a:lnTo>
                  <a:pt x="1960398" y="845136"/>
                </a:lnTo>
                <a:lnTo>
                  <a:pt x="2155406" y="973000"/>
                </a:lnTo>
                <a:lnTo>
                  <a:pt x="2351393" y="845136"/>
                </a:lnTo>
                <a:lnTo>
                  <a:pt x="2547379" y="973000"/>
                </a:lnTo>
                <a:lnTo>
                  <a:pt x="2747048" y="845136"/>
                </a:lnTo>
                <a:cubicBezTo>
                  <a:pt x="2745990" y="547211"/>
                  <a:pt x="2744931" y="301167"/>
                  <a:pt x="2743873" y="3242"/>
                </a:cubicBezTo>
                <a:lnTo>
                  <a:pt x="3175" y="0"/>
                </a:lnTo>
                <a:close/>
              </a:path>
            </a:pathLst>
          </a:custGeom>
          <a:solidFill>
            <a:srgbClr val="FEFFFE"/>
          </a:solidFill>
          <a:ln w="12700">
            <a:solidFill>
              <a:srgbClr val="6F7878"/>
            </a:solidFill>
          </a:ln>
        </p:spPr>
        <p:txBody>
          <a:bodyPr/>
          <a:lstStyle/>
          <a:p>
            <a:r>
              <a:rPr lang="en-US" sz="750" dirty="0"/>
              <a:t>Your organization has a messaging app that allows team members to communicate with each other instantly. Someone </a:t>
            </a:r>
            <a:r>
              <a:rPr lang="en-US" sz="750" b="1" dirty="0"/>
              <a:t>posts a joke that borders on inappropriate</a:t>
            </a:r>
            <a:r>
              <a:rPr lang="en-US" sz="750" dirty="0"/>
              <a:t> and you are stunned. You complain to your supervisor, but the supervisor says you are being too "sensitive” and that it might be best to drop it for the sake of team morale. </a:t>
            </a:r>
          </a:p>
        </p:txBody>
      </p:sp>
      <p:sp>
        <p:nvSpPr>
          <p:cNvPr id="16" name="TextBox 15">
            <a:extLst>
              <a:ext uri="{FF2B5EF4-FFF2-40B4-BE49-F238E27FC236}">
                <a16:creationId xmlns:a16="http://schemas.microsoft.com/office/drawing/2014/main" id="{DC573E1C-2200-486E-9D85-F0253C990BEA}"/>
              </a:ext>
            </a:extLst>
          </p:cNvPr>
          <p:cNvSpPr txBox="1"/>
          <p:nvPr/>
        </p:nvSpPr>
        <p:spPr>
          <a:xfrm>
            <a:off x="3522244" y="4138947"/>
            <a:ext cx="1935860" cy="946413"/>
          </a:xfrm>
          <a:prstGeom prst="rect">
            <a:avLst/>
          </a:prstGeom>
          <a:noFill/>
          <a:ln>
            <a:solidFill>
              <a:schemeClr val="tx1"/>
            </a:solidFill>
          </a:ln>
        </p:spPr>
        <p:txBody>
          <a:bodyPr wrap="square" lIns="68580" tIns="68580" bIns="68580" rtlCol="0">
            <a:spAutoFit/>
          </a:bodyPr>
          <a:lstStyle/>
          <a:p>
            <a:pPr marL="128588" indent="-128588">
              <a:buFont typeface="Arial" panose="020B0604020202020204" pitchFamily="34" charset="0"/>
              <a:buChar char="•"/>
            </a:pPr>
            <a:r>
              <a:rPr lang="en-US" sz="750" i="1" dirty="0"/>
              <a:t>What is your responsibility as his teammate and an employee of your organization? </a:t>
            </a:r>
          </a:p>
          <a:p>
            <a:pPr marL="128588" indent="-128588">
              <a:buFont typeface="Arial" panose="020B0604020202020204" pitchFamily="34" charset="0"/>
              <a:buChar char="•"/>
            </a:pPr>
            <a:r>
              <a:rPr lang="en-US" sz="750" i="1" dirty="0"/>
              <a:t>What could you tell your manager about what you have observed?</a:t>
            </a:r>
          </a:p>
          <a:p>
            <a:pPr marL="128588" indent="-128588">
              <a:buFont typeface="Arial" panose="020B0604020202020204" pitchFamily="34" charset="0"/>
              <a:buChar char="•"/>
            </a:pPr>
            <a:r>
              <a:rPr lang="en-US" sz="750" i="1" dirty="0"/>
              <a:t>How could you frame your concerns to your manager or human resources?</a:t>
            </a:r>
          </a:p>
        </p:txBody>
      </p:sp>
      <p:sp>
        <p:nvSpPr>
          <p:cNvPr id="17" name="Rectangle 16">
            <a:extLst>
              <a:ext uri="{FF2B5EF4-FFF2-40B4-BE49-F238E27FC236}">
                <a16:creationId xmlns:a16="http://schemas.microsoft.com/office/drawing/2014/main" id="{E4C2F4A0-58C6-49BF-9073-191505F91B75}"/>
              </a:ext>
            </a:extLst>
          </p:cNvPr>
          <p:cNvSpPr/>
          <p:nvPr/>
        </p:nvSpPr>
        <p:spPr>
          <a:xfrm>
            <a:off x="3522247" y="3951760"/>
            <a:ext cx="1935860" cy="187187"/>
          </a:xfrm>
          <a:prstGeom prst="rect">
            <a:avLst/>
          </a:prstGeom>
          <a:solidFill>
            <a:srgbClr val="E81159"/>
          </a:solidFill>
          <a:ln w="12700">
            <a:solidFill>
              <a:srgbClr val="E8115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900" b="1" dirty="0"/>
              <a:t>Discussion </a:t>
            </a:r>
          </a:p>
        </p:txBody>
      </p:sp>
      <p:sp>
        <p:nvSpPr>
          <p:cNvPr id="18" name="TextBox 17">
            <a:extLst>
              <a:ext uri="{FF2B5EF4-FFF2-40B4-BE49-F238E27FC236}">
                <a16:creationId xmlns:a16="http://schemas.microsoft.com/office/drawing/2014/main" id="{8A8A3203-B846-41E8-9B81-458D920FE153}"/>
              </a:ext>
            </a:extLst>
          </p:cNvPr>
          <p:cNvSpPr txBox="1"/>
          <p:nvPr/>
        </p:nvSpPr>
        <p:spPr>
          <a:xfrm>
            <a:off x="6300936" y="4138947"/>
            <a:ext cx="1935860" cy="946413"/>
          </a:xfrm>
          <a:prstGeom prst="rect">
            <a:avLst/>
          </a:prstGeom>
          <a:noFill/>
          <a:ln>
            <a:solidFill>
              <a:schemeClr val="tx1"/>
            </a:solidFill>
          </a:ln>
        </p:spPr>
        <p:txBody>
          <a:bodyPr wrap="square" lIns="68580" tIns="68580" bIns="68580" rtlCol="0">
            <a:spAutoFit/>
          </a:bodyPr>
          <a:lstStyle/>
          <a:p>
            <a:pPr marL="128588" indent="-128588">
              <a:buFont typeface="Arial" panose="020B0604020202020204" pitchFamily="34" charset="0"/>
              <a:buChar char="•"/>
            </a:pPr>
            <a:r>
              <a:rPr lang="en-US" sz="750" i="1" dirty="0"/>
              <a:t>What policies or agreements does your organization have in place that condemn this sort of behavior? </a:t>
            </a:r>
          </a:p>
          <a:p>
            <a:pPr marL="128588" indent="-128588">
              <a:buFont typeface="Arial" panose="020B0604020202020204" pitchFamily="34" charset="0"/>
              <a:buChar char="•"/>
            </a:pPr>
            <a:r>
              <a:rPr lang="en-US" sz="750" i="1" dirty="0"/>
              <a:t>Who outside of your manager could you discuss this incident with? </a:t>
            </a:r>
          </a:p>
          <a:p>
            <a:pPr marL="128588" indent="-128588">
              <a:buFont typeface="Arial" panose="020B0604020202020204" pitchFamily="34" charset="0"/>
              <a:buChar char="•"/>
            </a:pPr>
            <a:r>
              <a:rPr lang="en-US" sz="750" i="1" dirty="0"/>
              <a:t>Why is reporting an inappropriate joke better for team culture than ignoring it? </a:t>
            </a:r>
          </a:p>
        </p:txBody>
      </p:sp>
      <p:sp>
        <p:nvSpPr>
          <p:cNvPr id="19" name="Rectangle 18">
            <a:extLst>
              <a:ext uri="{FF2B5EF4-FFF2-40B4-BE49-F238E27FC236}">
                <a16:creationId xmlns:a16="http://schemas.microsoft.com/office/drawing/2014/main" id="{8B2F8A2F-2D17-4025-9297-6394EA4EDEDB}"/>
              </a:ext>
            </a:extLst>
          </p:cNvPr>
          <p:cNvSpPr/>
          <p:nvPr/>
        </p:nvSpPr>
        <p:spPr>
          <a:xfrm>
            <a:off x="6300940" y="3951760"/>
            <a:ext cx="1935860" cy="187187"/>
          </a:xfrm>
          <a:prstGeom prst="rect">
            <a:avLst/>
          </a:prstGeom>
          <a:solidFill>
            <a:srgbClr val="E81159"/>
          </a:solidFill>
          <a:ln w="12700">
            <a:solidFill>
              <a:srgbClr val="E8115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900" b="1" dirty="0"/>
              <a:t>Discussion </a:t>
            </a:r>
          </a:p>
        </p:txBody>
      </p:sp>
      <p:pic>
        <p:nvPicPr>
          <p:cNvPr id="9" name="Picture 8">
            <a:extLst>
              <a:ext uri="{FF2B5EF4-FFF2-40B4-BE49-F238E27FC236}">
                <a16:creationId xmlns:a16="http://schemas.microsoft.com/office/drawing/2014/main" id="{C1EDF99F-CF2C-4D2D-90D4-38DFCA4095D0}"/>
              </a:ext>
            </a:extLst>
          </p:cNvPr>
          <p:cNvPicPr>
            <a:picLocks noChangeAspect="1"/>
          </p:cNvPicPr>
          <p:nvPr/>
        </p:nvPicPr>
        <p:blipFill>
          <a:blip r:embed="rId2"/>
          <a:stretch>
            <a:fillRect/>
          </a:stretch>
        </p:blipFill>
        <p:spPr>
          <a:xfrm>
            <a:off x="750546" y="2200270"/>
            <a:ext cx="439107" cy="341528"/>
          </a:xfrm>
          <a:prstGeom prst="rect">
            <a:avLst/>
          </a:prstGeom>
        </p:spPr>
      </p:pic>
      <p:pic>
        <p:nvPicPr>
          <p:cNvPr id="11" name="Picture 10">
            <a:extLst>
              <a:ext uri="{FF2B5EF4-FFF2-40B4-BE49-F238E27FC236}">
                <a16:creationId xmlns:a16="http://schemas.microsoft.com/office/drawing/2014/main" id="{FB646D77-D666-448A-B2A2-492305AFFF82}"/>
              </a:ext>
            </a:extLst>
          </p:cNvPr>
          <p:cNvPicPr>
            <a:picLocks noChangeAspect="1"/>
          </p:cNvPicPr>
          <p:nvPr/>
        </p:nvPicPr>
        <p:blipFill>
          <a:blip r:embed="rId3"/>
          <a:stretch>
            <a:fillRect/>
          </a:stretch>
        </p:blipFill>
        <p:spPr>
          <a:xfrm>
            <a:off x="3526970" y="2199705"/>
            <a:ext cx="410494" cy="319273"/>
          </a:xfrm>
          <a:prstGeom prst="rect">
            <a:avLst/>
          </a:prstGeom>
        </p:spPr>
      </p:pic>
      <p:pic>
        <p:nvPicPr>
          <p:cNvPr id="7" name="Picture 6">
            <a:extLst>
              <a:ext uri="{FF2B5EF4-FFF2-40B4-BE49-F238E27FC236}">
                <a16:creationId xmlns:a16="http://schemas.microsoft.com/office/drawing/2014/main" id="{B8DC1B96-ACDC-46E9-AC41-898118BC2033}"/>
              </a:ext>
            </a:extLst>
          </p:cNvPr>
          <p:cNvPicPr>
            <a:picLocks noChangeAspect="1"/>
          </p:cNvPicPr>
          <p:nvPr/>
        </p:nvPicPr>
        <p:blipFill>
          <a:blip r:embed="rId4"/>
          <a:stretch>
            <a:fillRect/>
          </a:stretch>
        </p:blipFill>
        <p:spPr>
          <a:xfrm>
            <a:off x="6317860" y="2179286"/>
            <a:ext cx="482990" cy="375659"/>
          </a:xfrm>
          <a:prstGeom prst="rect">
            <a:avLst/>
          </a:prstGeom>
        </p:spPr>
      </p:pic>
    </p:spTree>
    <p:extLst>
      <p:ext uri="{BB962C8B-B14F-4D97-AF65-F5344CB8AC3E}">
        <p14:creationId xmlns:p14="http://schemas.microsoft.com/office/powerpoint/2010/main" val="30198040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F4C4A9-E3EC-A044-BFA0-7D8F9235D0A6}"/>
              </a:ext>
            </a:extLst>
          </p:cNvPr>
          <p:cNvSpPr>
            <a:spLocks noGrp="1"/>
          </p:cNvSpPr>
          <p:nvPr>
            <p:ph type="title"/>
          </p:nvPr>
        </p:nvSpPr>
        <p:spPr/>
        <p:txBody>
          <a:bodyPr/>
          <a:lstStyle/>
          <a:p>
            <a:r>
              <a:rPr lang="en-US" dirty="0"/>
              <a:t>Additional Scenarios…Discrimination</a:t>
            </a:r>
          </a:p>
        </p:txBody>
      </p:sp>
      <p:sp>
        <p:nvSpPr>
          <p:cNvPr id="4" name="Text Placeholder 3">
            <a:extLst>
              <a:ext uri="{FF2B5EF4-FFF2-40B4-BE49-F238E27FC236}">
                <a16:creationId xmlns:a16="http://schemas.microsoft.com/office/drawing/2014/main" id="{FAF16795-8308-5B4A-A8C6-7A81FBEFC570}"/>
              </a:ext>
            </a:extLst>
          </p:cNvPr>
          <p:cNvSpPr>
            <a:spLocks noGrp="1"/>
          </p:cNvSpPr>
          <p:nvPr>
            <p:ph type="body" sz="quarter" idx="11"/>
          </p:nvPr>
        </p:nvSpPr>
        <p:spPr>
          <a:xfrm>
            <a:off x="473405" y="1328941"/>
            <a:ext cx="8117701" cy="520478"/>
          </a:xfrm>
        </p:spPr>
        <p:txBody>
          <a:bodyPr>
            <a:noAutofit/>
          </a:bodyPr>
          <a:lstStyle/>
          <a:p>
            <a:pPr marL="0" indent="0">
              <a:buNone/>
            </a:pPr>
            <a:r>
              <a:rPr lang="en-US" sz="1600" dirty="0"/>
              <a:t>Discuss the following scenarios in small groups and consider the below discussion points before reporting back to the Group:</a:t>
            </a:r>
          </a:p>
        </p:txBody>
      </p:sp>
      <p:sp>
        <p:nvSpPr>
          <p:cNvPr id="6" name="Rectangle 5">
            <a:extLst>
              <a:ext uri="{FF2B5EF4-FFF2-40B4-BE49-F238E27FC236}">
                <a16:creationId xmlns:a16="http://schemas.microsoft.com/office/drawing/2014/main" id="{78E16932-9B2D-4553-A220-19643B172B17}"/>
              </a:ext>
            </a:extLst>
          </p:cNvPr>
          <p:cNvSpPr/>
          <p:nvPr/>
        </p:nvSpPr>
        <p:spPr>
          <a:xfrm>
            <a:off x="743552" y="2091690"/>
            <a:ext cx="1985210" cy="520478"/>
          </a:xfrm>
          <a:prstGeom prst="rect">
            <a:avLst/>
          </a:prstGeom>
          <a:solidFill>
            <a:schemeClr val="tx2"/>
          </a:solidFill>
          <a:ln w="12700">
            <a:solidFill>
              <a:srgbClr val="6F787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900" b="1" dirty="0"/>
              <a:t>Scenario 1</a:t>
            </a:r>
          </a:p>
          <a:p>
            <a:pPr algn="ctr"/>
            <a:r>
              <a:rPr lang="en-US" sz="900" b="1" dirty="0"/>
              <a:t>“The Promotion” </a:t>
            </a:r>
          </a:p>
        </p:txBody>
      </p:sp>
      <p:sp>
        <p:nvSpPr>
          <p:cNvPr id="24" name="Rectangle 23">
            <a:extLst>
              <a:ext uri="{FF2B5EF4-FFF2-40B4-BE49-F238E27FC236}">
                <a16:creationId xmlns:a16="http://schemas.microsoft.com/office/drawing/2014/main" id="{A96E40DE-9019-48E9-A74A-5A1CD2AEA986}"/>
              </a:ext>
            </a:extLst>
          </p:cNvPr>
          <p:cNvSpPr/>
          <p:nvPr/>
        </p:nvSpPr>
        <p:spPr>
          <a:xfrm>
            <a:off x="3522245" y="2091689"/>
            <a:ext cx="1985210" cy="521208"/>
          </a:xfrm>
          <a:prstGeom prst="rect">
            <a:avLst/>
          </a:prstGeom>
          <a:solidFill>
            <a:schemeClr val="tx2"/>
          </a:solidFill>
          <a:ln w="12700">
            <a:solidFill>
              <a:srgbClr val="6F787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900" b="1" dirty="0"/>
              <a:t>Scenario 2</a:t>
            </a:r>
          </a:p>
          <a:p>
            <a:pPr algn="ctr"/>
            <a:r>
              <a:rPr lang="en-US" sz="900" b="1" dirty="0"/>
              <a:t>“The Other Team”</a:t>
            </a:r>
          </a:p>
        </p:txBody>
      </p:sp>
      <p:sp>
        <p:nvSpPr>
          <p:cNvPr id="25" name="Rectangle 24">
            <a:extLst>
              <a:ext uri="{FF2B5EF4-FFF2-40B4-BE49-F238E27FC236}">
                <a16:creationId xmlns:a16="http://schemas.microsoft.com/office/drawing/2014/main" id="{E002055C-0B58-4771-A8BB-00E2E3CD4952}"/>
              </a:ext>
            </a:extLst>
          </p:cNvPr>
          <p:cNvSpPr/>
          <p:nvPr/>
        </p:nvSpPr>
        <p:spPr>
          <a:xfrm>
            <a:off x="6300938" y="2091689"/>
            <a:ext cx="1985210" cy="521208"/>
          </a:xfrm>
          <a:prstGeom prst="rect">
            <a:avLst/>
          </a:prstGeom>
          <a:solidFill>
            <a:schemeClr val="tx2"/>
          </a:solidFill>
          <a:ln w="12700">
            <a:solidFill>
              <a:srgbClr val="6F787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900" b="1" dirty="0"/>
              <a:t>Scenario 3</a:t>
            </a:r>
          </a:p>
          <a:p>
            <a:pPr algn="ctr"/>
            <a:r>
              <a:rPr lang="en-US" sz="900" b="1" dirty="0"/>
              <a:t>“The Team Lunch”</a:t>
            </a:r>
          </a:p>
        </p:txBody>
      </p:sp>
      <p:sp>
        <p:nvSpPr>
          <p:cNvPr id="33" name="Freeform 21">
            <a:extLst>
              <a:ext uri="{FF2B5EF4-FFF2-40B4-BE49-F238E27FC236}">
                <a16:creationId xmlns:a16="http://schemas.microsoft.com/office/drawing/2014/main" id="{CCBAEC06-120C-4A0A-8C69-FB3579D1732B}"/>
              </a:ext>
            </a:extLst>
          </p:cNvPr>
          <p:cNvSpPr/>
          <p:nvPr/>
        </p:nvSpPr>
        <p:spPr>
          <a:xfrm>
            <a:off x="743552" y="2612168"/>
            <a:ext cx="1985210" cy="1291963"/>
          </a:xfrm>
          <a:custGeom>
            <a:avLst/>
            <a:gdLst>
              <a:gd name="connsiteX0" fmla="*/ 3175 w 2747048"/>
              <a:gd name="connsiteY0" fmla="*/ 482600 h 1504239"/>
              <a:gd name="connsiteX1" fmla="*/ 0 w 2747048"/>
              <a:gd name="connsiteY1" fmla="*/ 1376375 h 1504239"/>
              <a:gd name="connsiteX2" fmla="*/ 199238 w 2747048"/>
              <a:gd name="connsiteY2" fmla="*/ 1504239 h 1504239"/>
              <a:gd name="connsiteX3" fmla="*/ 394056 w 2747048"/>
              <a:gd name="connsiteY3" fmla="*/ 1376375 h 1504239"/>
              <a:gd name="connsiteX4" fmla="*/ 589725 w 2747048"/>
              <a:gd name="connsiteY4" fmla="*/ 1504239 h 1504239"/>
              <a:gd name="connsiteX5" fmla="*/ 785254 w 2747048"/>
              <a:gd name="connsiteY5" fmla="*/ 1376375 h 1504239"/>
              <a:gd name="connsiteX6" fmla="*/ 980466 w 2747048"/>
              <a:gd name="connsiteY6" fmla="*/ 1504239 h 1504239"/>
              <a:gd name="connsiteX7" fmla="*/ 1176833 w 2747048"/>
              <a:gd name="connsiteY7" fmla="*/ 1376375 h 1504239"/>
              <a:gd name="connsiteX8" fmla="*/ 1372439 w 2747048"/>
              <a:gd name="connsiteY8" fmla="*/ 1504239 h 1504239"/>
              <a:gd name="connsiteX9" fmla="*/ 1568425 w 2747048"/>
              <a:gd name="connsiteY9" fmla="*/ 1376375 h 1504239"/>
              <a:gd name="connsiteX10" fmla="*/ 1763433 w 2747048"/>
              <a:gd name="connsiteY10" fmla="*/ 1504239 h 1504239"/>
              <a:gd name="connsiteX11" fmla="*/ 1960398 w 2747048"/>
              <a:gd name="connsiteY11" fmla="*/ 1376375 h 1504239"/>
              <a:gd name="connsiteX12" fmla="*/ 2155406 w 2747048"/>
              <a:gd name="connsiteY12" fmla="*/ 1504239 h 1504239"/>
              <a:gd name="connsiteX13" fmla="*/ 2351393 w 2747048"/>
              <a:gd name="connsiteY13" fmla="*/ 1376375 h 1504239"/>
              <a:gd name="connsiteX14" fmla="*/ 2547379 w 2747048"/>
              <a:gd name="connsiteY14" fmla="*/ 1504239 h 1504239"/>
              <a:gd name="connsiteX15" fmla="*/ 2747048 w 2747048"/>
              <a:gd name="connsiteY15" fmla="*/ 1376375 h 1504239"/>
              <a:gd name="connsiteX16" fmla="*/ 2747048 w 2747048"/>
              <a:gd name="connsiteY16" fmla="*/ 0 h 1504239"/>
              <a:gd name="connsiteX17" fmla="*/ 3175 w 2747048"/>
              <a:gd name="connsiteY17" fmla="*/ 482600 h 1504239"/>
              <a:gd name="connsiteX0" fmla="*/ 3175 w 2747048"/>
              <a:gd name="connsiteY0" fmla="*/ 0 h 1021639"/>
              <a:gd name="connsiteX1" fmla="*/ 0 w 2747048"/>
              <a:gd name="connsiteY1" fmla="*/ 893775 h 1021639"/>
              <a:gd name="connsiteX2" fmla="*/ 199238 w 2747048"/>
              <a:gd name="connsiteY2" fmla="*/ 1021639 h 1021639"/>
              <a:gd name="connsiteX3" fmla="*/ 394056 w 2747048"/>
              <a:gd name="connsiteY3" fmla="*/ 893775 h 1021639"/>
              <a:gd name="connsiteX4" fmla="*/ 589725 w 2747048"/>
              <a:gd name="connsiteY4" fmla="*/ 1021639 h 1021639"/>
              <a:gd name="connsiteX5" fmla="*/ 785254 w 2747048"/>
              <a:gd name="connsiteY5" fmla="*/ 893775 h 1021639"/>
              <a:gd name="connsiteX6" fmla="*/ 980466 w 2747048"/>
              <a:gd name="connsiteY6" fmla="*/ 1021639 h 1021639"/>
              <a:gd name="connsiteX7" fmla="*/ 1176833 w 2747048"/>
              <a:gd name="connsiteY7" fmla="*/ 893775 h 1021639"/>
              <a:gd name="connsiteX8" fmla="*/ 1372439 w 2747048"/>
              <a:gd name="connsiteY8" fmla="*/ 1021639 h 1021639"/>
              <a:gd name="connsiteX9" fmla="*/ 1568425 w 2747048"/>
              <a:gd name="connsiteY9" fmla="*/ 893775 h 1021639"/>
              <a:gd name="connsiteX10" fmla="*/ 1763433 w 2747048"/>
              <a:gd name="connsiteY10" fmla="*/ 1021639 h 1021639"/>
              <a:gd name="connsiteX11" fmla="*/ 1960398 w 2747048"/>
              <a:gd name="connsiteY11" fmla="*/ 893775 h 1021639"/>
              <a:gd name="connsiteX12" fmla="*/ 2155406 w 2747048"/>
              <a:gd name="connsiteY12" fmla="*/ 1021639 h 1021639"/>
              <a:gd name="connsiteX13" fmla="*/ 2351393 w 2747048"/>
              <a:gd name="connsiteY13" fmla="*/ 893775 h 1021639"/>
              <a:gd name="connsiteX14" fmla="*/ 2547379 w 2747048"/>
              <a:gd name="connsiteY14" fmla="*/ 1021639 h 1021639"/>
              <a:gd name="connsiteX15" fmla="*/ 2747048 w 2747048"/>
              <a:gd name="connsiteY15" fmla="*/ 893775 h 1021639"/>
              <a:gd name="connsiteX16" fmla="*/ 2743873 w 2747048"/>
              <a:gd name="connsiteY16" fmla="*/ 0 h 1021639"/>
              <a:gd name="connsiteX17" fmla="*/ 3175 w 2747048"/>
              <a:gd name="connsiteY17" fmla="*/ 0 h 1021639"/>
              <a:gd name="connsiteX0" fmla="*/ 3175 w 2747048"/>
              <a:gd name="connsiteY0" fmla="*/ 51881 h 1021639"/>
              <a:gd name="connsiteX1" fmla="*/ 0 w 2747048"/>
              <a:gd name="connsiteY1" fmla="*/ 893775 h 1021639"/>
              <a:gd name="connsiteX2" fmla="*/ 199238 w 2747048"/>
              <a:gd name="connsiteY2" fmla="*/ 1021639 h 1021639"/>
              <a:gd name="connsiteX3" fmla="*/ 394056 w 2747048"/>
              <a:gd name="connsiteY3" fmla="*/ 893775 h 1021639"/>
              <a:gd name="connsiteX4" fmla="*/ 589725 w 2747048"/>
              <a:gd name="connsiteY4" fmla="*/ 1021639 h 1021639"/>
              <a:gd name="connsiteX5" fmla="*/ 785254 w 2747048"/>
              <a:gd name="connsiteY5" fmla="*/ 893775 h 1021639"/>
              <a:gd name="connsiteX6" fmla="*/ 980466 w 2747048"/>
              <a:gd name="connsiteY6" fmla="*/ 1021639 h 1021639"/>
              <a:gd name="connsiteX7" fmla="*/ 1176833 w 2747048"/>
              <a:gd name="connsiteY7" fmla="*/ 893775 h 1021639"/>
              <a:gd name="connsiteX8" fmla="*/ 1372439 w 2747048"/>
              <a:gd name="connsiteY8" fmla="*/ 1021639 h 1021639"/>
              <a:gd name="connsiteX9" fmla="*/ 1568425 w 2747048"/>
              <a:gd name="connsiteY9" fmla="*/ 893775 h 1021639"/>
              <a:gd name="connsiteX10" fmla="*/ 1763433 w 2747048"/>
              <a:gd name="connsiteY10" fmla="*/ 1021639 h 1021639"/>
              <a:gd name="connsiteX11" fmla="*/ 1960398 w 2747048"/>
              <a:gd name="connsiteY11" fmla="*/ 893775 h 1021639"/>
              <a:gd name="connsiteX12" fmla="*/ 2155406 w 2747048"/>
              <a:gd name="connsiteY12" fmla="*/ 1021639 h 1021639"/>
              <a:gd name="connsiteX13" fmla="*/ 2351393 w 2747048"/>
              <a:gd name="connsiteY13" fmla="*/ 893775 h 1021639"/>
              <a:gd name="connsiteX14" fmla="*/ 2547379 w 2747048"/>
              <a:gd name="connsiteY14" fmla="*/ 1021639 h 1021639"/>
              <a:gd name="connsiteX15" fmla="*/ 2747048 w 2747048"/>
              <a:gd name="connsiteY15" fmla="*/ 893775 h 1021639"/>
              <a:gd name="connsiteX16" fmla="*/ 2743873 w 2747048"/>
              <a:gd name="connsiteY16" fmla="*/ 0 h 1021639"/>
              <a:gd name="connsiteX17" fmla="*/ 3175 w 2747048"/>
              <a:gd name="connsiteY17" fmla="*/ 51881 h 1021639"/>
              <a:gd name="connsiteX0" fmla="*/ 3175 w 2747048"/>
              <a:gd name="connsiteY0" fmla="*/ 0 h 969758"/>
              <a:gd name="connsiteX1" fmla="*/ 0 w 2747048"/>
              <a:gd name="connsiteY1" fmla="*/ 841894 h 969758"/>
              <a:gd name="connsiteX2" fmla="*/ 199238 w 2747048"/>
              <a:gd name="connsiteY2" fmla="*/ 969758 h 969758"/>
              <a:gd name="connsiteX3" fmla="*/ 394056 w 2747048"/>
              <a:gd name="connsiteY3" fmla="*/ 841894 h 969758"/>
              <a:gd name="connsiteX4" fmla="*/ 589725 w 2747048"/>
              <a:gd name="connsiteY4" fmla="*/ 969758 h 969758"/>
              <a:gd name="connsiteX5" fmla="*/ 785254 w 2747048"/>
              <a:gd name="connsiteY5" fmla="*/ 841894 h 969758"/>
              <a:gd name="connsiteX6" fmla="*/ 980466 w 2747048"/>
              <a:gd name="connsiteY6" fmla="*/ 969758 h 969758"/>
              <a:gd name="connsiteX7" fmla="*/ 1176833 w 2747048"/>
              <a:gd name="connsiteY7" fmla="*/ 841894 h 969758"/>
              <a:gd name="connsiteX8" fmla="*/ 1372439 w 2747048"/>
              <a:gd name="connsiteY8" fmla="*/ 969758 h 969758"/>
              <a:gd name="connsiteX9" fmla="*/ 1568425 w 2747048"/>
              <a:gd name="connsiteY9" fmla="*/ 841894 h 969758"/>
              <a:gd name="connsiteX10" fmla="*/ 1763433 w 2747048"/>
              <a:gd name="connsiteY10" fmla="*/ 969758 h 969758"/>
              <a:gd name="connsiteX11" fmla="*/ 1960398 w 2747048"/>
              <a:gd name="connsiteY11" fmla="*/ 841894 h 969758"/>
              <a:gd name="connsiteX12" fmla="*/ 2155406 w 2747048"/>
              <a:gd name="connsiteY12" fmla="*/ 969758 h 969758"/>
              <a:gd name="connsiteX13" fmla="*/ 2351393 w 2747048"/>
              <a:gd name="connsiteY13" fmla="*/ 841894 h 969758"/>
              <a:gd name="connsiteX14" fmla="*/ 2547379 w 2747048"/>
              <a:gd name="connsiteY14" fmla="*/ 969758 h 969758"/>
              <a:gd name="connsiteX15" fmla="*/ 2747048 w 2747048"/>
              <a:gd name="connsiteY15" fmla="*/ 841894 h 969758"/>
              <a:gd name="connsiteX16" fmla="*/ 2743873 w 2747048"/>
              <a:gd name="connsiteY16" fmla="*/ 0 h 969758"/>
              <a:gd name="connsiteX17" fmla="*/ 3175 w 2747048"/>
              <a:gd name="connsiteY17" fmla="*/ 0 h 969758"/>
              <a:gd name="connsiteX0" fmla="*/ 297 w 2747412"/>
              <a:gd name="connsiteY0" fmla="*/ 3243 h 969758"/>
              <a:gd name="connsiteX1" fmla="*/ 364 w 2747412"/>
              <a:gd name="connsiteY1" fmla="*/ 841894 h 969758"/>
              <a:gd name="connsiteX2" fmla="*/ 199602 w 2747412"/>
              <a:gd name="connsiteY2" fmla="*/ 969758 h 969758"/>
              <a:gd name="connsiteX3" fmla="*/ 394420 w 2747412"/>
              <a:gd name="connsiteY3" fmla="*/ 841894 h 969758"/>
              <a:gd name="connsiteX4" fmla="*/ 590089 w 2747412"/>
              <a:gd name="connsiteY4" fmla="*/ 969758 h 969758"/>
              <a:gd name="connsiteX5" fmla="*/ 785618 w 2747412"/>
              <a:gd name="connsiteY5" fmla="*/ 841894 h 969758"/>
              <a:gd name="connsiteX6" fmla="*/ 980830 w 2747412"/>
              <a:gd name="connsiteY6" fmla="*/ 969758 h 969758"/>
              <a:gd name="connsiteX7" fmla="*/ 1177197 w 2747412"/>
              <a:gd name="connsiteY7" fmla="*/ 841894 h 969758"/>
              <a:gd name="connsiteX8" fmla="*/ 1372803 w 2747412"/>
              <a:gd name="connsiteY8" fmla="*/ 969758 h 969758"/>
              <a:gd name="connsiteX9" fmla="*/ 1568789 w 2747412"/>
              <a:gd name="connsiteY9" fmla="*/ 841894 h 969758"/>
              <a:gd name="connsiteX10" fmla="*/ 1763797 w 2747412"/>
              <a:gd name="connsiteY10" fmla="*/ 969758 h 969758"/>
              <a:gd name="connsiteX11" fmla="*/ 1960762 w 2747412"/>
              <a:gd name="connsiteY11" fmla="*/ 841894 h 969758"/>
              <a:gd name="connsiteX12" fmla="*/ 2155770 w 2747412"/>
              <a:gd name="connsiteY12" fmla="*/ 969758 h 969758"/>
              <a:gd name="connsiteX13" fmla="*/ 2351757 w 2747412"/>
              <a:gd name="connsiteY13" fmla="*/ 841894 h 969758"/>
              <a:gd name="connsiteX14" fmla="*/ 2547743 w 2747412"/>
              <a:gd name="connsiteY14" fmla="*/ 969758 h 969758"/>
              <a:gd name="connsiteX15" fmla="*/ 2747412 w 2747412"/>
              <a:gd name="connsiteY15" fmla="*/ 841894 h 969758"/>
              <a:gd name="connsiteX16" fmla="*/ 2744237 w 2747412"/>
              <a:gd name="connsiteY16" fmla="*/ 0 h 969758"/>
              <a:gd name="connsiteX17" fmla="*/ 297 w 2747412"/>
              <a:gd name="connsiteY17" fmla="*/ 3243 h 969758"/>
              <a:gd name="connsiteX0" fmla="*/ 297 w 2747412"/>
              <a:gd name="connsiteY0" fmla="*/ 0 h 973000"/>
              <a:gd name="connsiteX1" fmla="*/ 364 w 2747412"/>
              <a:gd name="connsiteY1" fmla="*/ 845136 h 973000"/>
              <a:gd name="connsiteX2" fmla="*/ 199602 w 2747412"/>
              <a:gd name="connsiteY2" fmla="*/ 973000 h 973000"/>
              <a:gd name="connsiteX3" fmla="*/ 394420 w 2747412"/>
              <a:gd name="connsiteY3" fmla="*/ 845136 h 973000"/>
              <a:gd name="connsiteX4" fmla="*/ 590089 w 2747412"/>
              <a:gd name="connsiteY4" fmla="*/ 973000 h 973000"/>
              <a:gd name="connsiteX5" fmla="*/ 785618 w 2747412"/>
              <a:gd name="connsiteY5" fmla="*/ 845136 h 973000"/>
              <a:gd name="connsiteX6" fmla="*/ 980830 w 2747412"/>
              <a:gd name="connsiteY6" fmla="*/ 973000 h 973000"/>
              <a:gd name="connsiteX7" fmla="*/ 1177197 w 2747412"/>
              <a:gd name="connsiteY7" fmla="*/ 845136 h 973000"/>
              <a:gd name="connsiteX8" fmla="*/ 1372803 w 2747412"/>
              <a:gd name="connsiteY8" fmla="*/ 973000 h 973000"/>
              <a:gd name="connsiteX9" fmla="*/ 1568789 w 2747412"/>
              <a:gd name="connsiteY9" fmla="*/ 845136 h 973000"/>
              <a:gd name="connsiteX10" fmla="*/ 1763797 w 2747412"/>
              <a:gd name="connsiteY10" fmla="*/ 973000 h 973000"/>
              <a:gd name="connsiteX11" fmla="*/ 1960762 w 2747412"/>
              <a:gd name="connsiteY11" fmla="*/ 845136 h 973000"/>
              <a:gd name="connsiteX12" fmla="*/ 2155770 w 2747412"/>
              <a:gd name="connsiteY12" fmla="*/ 973000 h 973000"/>
              <a:gd name="connsiteX13" fmla="*/ 2351757 w 2747412"/>
              <a:gd name="connsiteY13" fmla="*/ 845136 h 973000"/>
              <a:gd name="connsiteX14" fmla="*/ 2547743 w 2747412"/>
              <a:gd name="connsiteY14" fmla="*/ 973000 h 973000"/>
              <a:gd name="connsiteX15" fmla="*/ 2747412 w 2747412"/>
              <a:gd name="connsiteY15" fmla="*/ 845136 h 973000"/>
              <a:gd name="connsiteX16" fmla="*/ 2744237 w 2747412"/>
              <a:gd name="connsiteY16" fmla="*/ 3242 h 973000"/>
              <a:gd name="connsiteX17" fmla="*/ 297 w 2747412"/>
              <a:gd name="connsiteY17" fmla="*/ 0 h 973000"/>
              <a:gd name="connsiteX0" fmla="*/ 3175 w 2747048"/>
              <a:gd name="connsiteY0" fmla="*/ 0 h 973000"/>
              <a:gd name="connsiteX1" fmla="*/ 0 w 2747048"/>
              <a:gd name="connsiteY1" fmla="*/ 845136 h 973000"/>
              <a:gd name="connsiteX2" fmla="*/ 199238 w 2747048"/>
              <a:gd name="connsiteY2" fmla="*/ 973000 h 973000"/>
              <a:gd name="connsiteX3" fmla="*/ 394056 w 2747048"/>
              <a:gd name="connsiteY3" fmla="*/ 845136 h 973000"/>
              <a:gd name="connsiteX4" fmla="*/ 589725 w 2747048"/>
              <a:gd name="connsiteY4" fmla="*/ 973000 h 973000"/>
              <a:gd name="connsiteX5" fmla="*/ 785254 w 2747048"/>
              <a:gd name="connsiteY5" fmla="*/ 845136 h 973000"/>
              <a:gd name="connsiteX6" fmla="*/ 980466 w 2747048"/>
              <a:gd name="connsiteY6" fmla="*/ 973000 h 973000"/>
              <a:gd name="connsiteX7" fmla="*/ 1176833 w 2747048"/>
              <a:gd name="connsiteY7" fmla="*/ 845136 h 973000"/>
              <a:gd name="connsiteX8" fmla="*/ 1372439 w 2747048"/>
              <a:gd name="connsiteY8" fmla="*/ 973000 h 973000"/>
              <a:gd name="connsiteX9" fmla="*/ 1568425 w 2747048"/>
              <a:gd name="connsiteY9" fmla="*/ 845136 h 973000"/>
              <a:gd name="connsiteX10" fmla="*/ 1763433 w 2747048"/>
              <a:gd name="connsiteY10" fmla="*/ 973000 h 973000"/>
              <a:gd name="connsiteX11" fmla="*/ 1960398 w 2747048"/>
              <a:gd name="connsiteY11" fmla="*/ 845136 h 973000"/>
              <a:gd name="connsiteX12" fmla="*/ 2155406 w 2747048"/>
              <a:gd name="connsiteY12" fmla="*/ 973000 h 973000"/>
              <a:gd name="connsiteX13" fmla="*/ 2351393 w 2747048"/>
              <a:gd name="connsiteY13" fmla="*/ 845136 h 973000"/>
              <a:gd name="connsiteX14" fmla="*/ 2547379 w 2747048"/>
              <a:gd name="connsiteY14" fmla="*/ 973000 h 973000"/>
              <a:gd name="connsiteX15" fmla="*/ 2747048 w 2747048"/>
              <a:gd name="connsiteY15" fmla="*/ 845136 h 973000"/>
              <a:gd name="connsiteX16" fmla="*/ 2743873 w 2747048"/>
              <a:gd name="connsiteY16" fmla="*/ 3242 h 973000"/>
              <a:gd name="connsiteX17" fmla="*/ 3175 w 2747048"/>
              <a:gd name="connsiteY17" fmla="*/ 0 h 973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747048" h="973000">
                <a:moveTo>
                  <a:pt x="3175" y="0"/>
                </a:moveTo>
                <a:cubicBezTo>
                  <a:pt x="2117" y="297925"/>
                  <a:pt x="1058" y="547211"/>
                  <a:pt x="0" y="845136"/>
                </a:cubicBezTo>
                <a:lnTo>
                  <a:pt x="199238" y="973000"/>
                </a:lnTo>
                <a:lnTo>
                  <a:pt x="394056" y="845136"/>
                </a:lnTo>
                <a:lnTo>
                  <a:pt x="589725" y="973000"/>
                </a:lnTo>
                <a:lnTo>
                  <a:pt x="785254" y="845136"/>
                </a:lnTo>
                <a:lnTo>
                  <a:pt x="980466" y="973000"/>
                </a:lnTo>
                <a:lnTo>
                  <a:pt x="1176833" y="845136"/>
                </a:lnTo>
                <a:lnTo>
                  <a:pt x="1372439" y="973000"/>
                </a:lnTo>
                <a:lnTo>
                  <a:pt x="1568425" y="845136"/>
                </a:lnTo>
                <a:lnTo>
                  <a:pt x="1763433" y="973000"/>
                </a:lnTo>
                <a:lnTo>
                  <a:pt x="1960398" y="845136"/>
                </a:lnTo>
                <a:lnTo>
                  <a:pt x="2155406" y="973000"/>
                </a:lnTo>
                <a:lnTo>
                  <a:pt x="2351393" y="845136"/>
                </a:lnTo>
                <a:lnTo>
                  <a:pt x="2547379" y="973000"/>
                </a:lnTo>
                <a:lnTo>
                  <a:pt x="2747048" y="845136"/>
                </a:lnTo>
                <a:cubicBezTo>
                  <a:pt x="2745990" y="547211"/>
                  <a:pt x="2744931" y="301167"/>
                  <a:pt x="2743873" y="3242"/>
                </a:cubicBezTo>
                <a:lnTo>
                  <a:pt x="3175" y="0"/>
                </a:lnTo>
                <a:close/>
              </a:path>
            </a:pathLst>
          </a:custGeom>
          <a:solidFill>
            <a:srgbClr val="FEFFFE"/>
          </a:solidFill>
          <a:ln w="12700">
            <a:solidFill>
              <a:srgbClr val="6F7878"/>
            </a:solidFill>
          </a:ln>
        </p:spPr>
        <p:txBody>
          <a:bodyPr/>
          <a:lstStyle/>
          <a:p>
            <a:r>
              <a:rPr lang="en-US" sz="750" dirty="0"/>
              <a:t>Your coworker recently applied to a management position and was turned down. In a talk with your supervisor, you mention that you were surprised your coworker didn’t get the job. Your supervisor says that while she feels your coworker is talented, the consensus was that </a:t>
            </a:r>
            <a:r>
              <a:rPr lang="en-US" sz="750" b="1" dirty="0"/>
              <a:t>your coworker was a mother and wouldn’t be able to put in the hours required. </a:t>
            </a:r>
          </a:p>
          <a:p>
            <a:endParaRPr lang="en-US" sz="788" dirty="0"/>
          </a:p>
        </p:txBody>
      </p:sp>
      <p:sp>
        <p:nvSpPr>
          <p:cNvPr id="41" name="TextBox 40">
            <a:extLst>
              <a:ext uri="{FF2B5EF4-FFF2-40B4-BE49-F238E27FC236}">
                <a16:creationId xmlns:a16="http://schemas.microsoft.com/office/drawing/2014/main" id="{9D6A0CF4-2957-4A48-9608-4D1FAB2D67F0}"/>
              </a:ext>
            </a:extLst>
          </p:cNvPr>
          <p:cNvSpPr txBox="1"/>
          <p:nvPr/>
        </p:nvSpPr>
        <p:spPr>
          <a:xfrm>
            <a:off x="743548" y="4138947"/>
            <a:ext cx="1988820" cy="946413"/>
          </a:xfrm>
          <a:prstGeom prst="rect">
            <a:avLst/>
          </a:prstGeom>
          <a:noFill/>
          <a:ln>
            <a:solidFill>
              <a:schemeClr val="tx1"/>
            </a:solidFill>
          </a:ln>
        </p:spPr>
        <p:txBody>
          <a:bodyPr wrap="square" lIns="68580" tIns="68580" bIns="68580" rtlCol="0">
            <a:spAutoFit/>
          </a:bodyPr>
          <a:lstStyle/>
          <a:p>
            <a:pPr marL="128588" indent="-128588">
              <a:buFont typeface="Arial" panose="020B0604020202020204" pitchFamily="34" charset="0"/>
              <a:buChar char="•"/>
            </a:pPr>
            <a:r>
              <a:rPr lang="en-US" sz="750" i="1" dirty="0"/>
              <a:t>How is this comment discriminatory to your coworker? </a:t>
            </a:r>
          </a:p>
          <a:p>
            <a:pPr marL="128588" indent="-128588">
              <a:buFont typeface="Arial" panose="020B0604020202020204" pitchFamily="34" charset="0"/>
              <a:buChar char="•"/>
            </a:pPr>
            <a:r>
              <a:rPr lang="en-US" sz="750" i="1" dirty="0"/>
              <a:t>What is your organization’s policy on discrimination? Who is protected under this policy? </a:t>
            </a:r>
          </a:p>
          <a:p>
            <a:pPr marL="128588" indent="-128588">
              <a:buFont typeface="Arial" panose="020B0604020202020204" pitchFamily="34" charset="0"/>
              <a:buChar char="•"/>
            </a:pPr>
            <a:r>
              <a:rPr lang="en-US" sz="750" i="1" dirty="0"/>
              <a:t>How could you report this outside of your typical chain of command? </a:t>
            </a:r>
          </a:p>
        </p:txBody>
      </p:sp>
      <p:sp>
        <p:nvSpPr>
          <p:cNvPr id="42" name="Rectangle 41">
            <a:extLst>
              <a:ext uri="{FF2B5EF4-FFF2-40B4-BE49-F238E27FC236}">
                <a16:creationId xmlns:a16="http://schemas.microsoft.com/office/drawing/2014/main" id="{D71635F5-324D-42F7-BE89-192EE74A5D63}"/>
              </a:ext>
            </a:extLst>
          </p:cNvPr>
          <p:cNvSpPr/>
          <p:nvPr/>
        </p:nvSpPr>
        <p:spPr>
          <a:xfrm>
            <a:off x="743552" y="3951760"/>
            <a:ext cx="1988820" cy="187187"/>
          </a:xfrm>
          <a:prstGeom prst="rect">
            <a:avLst/>
          </a:prstGeom>
          <a:solidFill>
            <a:srgbClr val="E81159"/>
          </a:solidFill>
          <a:ln w="12700">
            <a:solidFill>
              <a:srgbClr val="E8115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900" b="1" dirty="0"/>
              <a:t>Discussion </a:t>
            </a:r>
          </a:p>
        </p:txBody>
      </p:sp>
      <p:sp>
        <p:nvSpPr>
          <p:cNvPr id="14" name="Freeform 21">
            <a:extLst>
              <a:ext uri="{FF2B5EF4-FFF2-40B4-BE49-F238E27FC236}">
                <a16:creationId xmlns:a16="http://schemas.microsoft.com/office/drawing/2014/main" id="{7B414B28-097E-41A5-BC8D-45DF0547DA1D}"/>
              </a:ext>
            </a:extLst>
          </p:cNvPr>
          <p:cNvSpPr/>
          <p:nvPr/>
        </p:nvSpPr>
        <p:spPr>
          <a:xfrm>
            <a:off x="3522244" y="2612168"/>
            <a:ext cx="1985210" cy="1291963"/>
          </a:xfrm>
          <a:custGeom>
            <a:avLst/>
            <a:gdLst>
              <a:gd name="connsiteX0" fmla="*/ 3175 w 2747048"/>
              <a:gd name="connsiteY0" fmla="*/ 482600 h 1504239"/>
              <a:gd name="connsiteX1" fmla="*/ 0 w 2747048"/>
              <a:gd name="connsiteY1" fmla="*/ 1376375 h 1504239"/>
              <a:gd name="connsiteX2" fmla="*/ 199238 w 2747048"/>
              <a:gd name="connsiteY2" fmla="*/ 1504239 h 1504239"/>
              <a:gd name="connsiteX3" fmla="*/ 394056 w 2747048"/>
              <a:gd name="connsiteY3" fmla="*/ 1376375 h 1504239"/>
              <a:gd name="connsiteX4" fmla="*/ 589725 w 2747048"/>
              <a:gd name="connsiteY4" fmla="*/ 1504239 h 1504239"/>
              <a:gd name="connsiteX5" fmla="*/ 785254 w 2747048"/>
              <a:gd name="connsiteY5" fmla="*/ 1376375 h 1504239"/>
              <a:gd name="connsiteX6" fmla="*/ 980466 w 2747048"/>
              <a:gd name="connsiteY6" fmla="*/ 1504239 h 1504239"/>
              <a:gd name="connsiteX7" fmla="*/ 1176833 w 2747048"/>
              <a:gd name="connsiteY7" fmla="*/ 1376375 h 1504239"/>
              <a:gd name="connsiteX8" fmla="*/ 1372439 w 2747048"/>
              <a:gd name="connsiteY8" fmla="*/ 1504239 h 1504239"/>
              <a:gd name="connsiteX9" fmla="*/ 1568425 w 2747048"/>
              <a:gd name="connsiteY9" fmla="*/ 1376375 h 1504239"/>
              <a:gd name="connsiteX10" fmla="*/ 1763433 w 2747048"/>
              <a:gd name="connsiteY10" fmla="*/ 1504239 h 1504239"/>
              <a:gd name="connsiteX11" fmla="*/ 1960398 w 2747048"/>
              <a:gd name="connsiteY11" fmla="*/ 1376375 h 1504239"/>
              <a:gd name="connsiteX12" fmla="*/ 2155406 w 2747048"/>
              <a:gd name="connsiteY12" fmla="*/ 1504239 h 1504239"/>
              <a:gd name="connsiteX13" fmla="*/ 2351393 w 2747048"/>
              <a:gd name="connsiteY13" fmla="*/ 1376375 h 1504239"/>
              <a:gd name="connsiteX14" fmla="*/ 2547379 w 2747048"/>
              <a:gd name="connsiteY14" fmla="*/ 1504239 h 1504239"/>
              <a:gd name="connsiteX15" fmla="*/ 2747048 w 2747048"/>
              <a:gd name="connsiteY15" fmla="*/ 1376375 h 1504239"/>
              <a:gd name="connsiteX16" fmla="*/ 2747048 w 2747048"/>
              <a:gd name="connsiteY16" fmla="*/ 0 h 1504239"/>
              <a:gd name="connsiteX17" fmla="*/ 3175 w 2747048"/>
              <a:gd name="connsiteY17" fmla="*/ 482600 h 1504239"/>
              <a:gd name="connsiteX0" fmla="*/ 3175 w 2747048"/>
              <a:gd name="connsiteY0" fmla="*/ 0 h 1021639"/>
              <a:gd name="connsiteX1" fmla="*/ 0 w 2747048"/>
              <a:gd name="connsiteY1" fmla="*/ 893775 h 1021639"/>
              <a:gd name="connsiteX2" fmla="*/ 199238 w 2747048"/>
              <a:gd name="connsiteY2" fmla="*/ 1021639 h 1021639"/>
              <a:gd name="connsiteX3" fmla="*/ 394056 w 2747048"/>
              <a:gd name="connsiteY3" fmla="*/ 893775 h 1021639"/>
              <a:gd name="connsiteX4" fmla="*/ 589725 w 2747048"/>
              <a:gd name="connsiteY4" fmla="*/ 1021639 h 1021639"/>
              <a:gd name="connsiteX5" fmla="*/ 785254 w 2747048"/>
              <a:gd name="connsiteY5" fmla="*/ 893775 h 1021639"/>
              <a:gd name="connsiteX6" fmla="*/ 980466 w 2747048"/>
              <a:gd name="connsiteY6" fmla="*/ 1021639 h 1021639"/>
              <a:gd name="connsiteX7" fmla="*/ 1176833 w 2747048"/>
              <a:gd name="connsiteY7" fmla="*/ 893775 h 1021639"/>
              <a:gd name="connsiteX8" fmla="*/ 1372439 w 2747048"/>
              <a:gd name="connsiteY8" fmla="*/ 1021639 h 1021639"/>
              <a:gd name="connsiteX9" fmla="*/ 1568425 w 2747048"/>
              <a:gd name="connsiteY9" fmla="*/ 893775 h 1021639"/>
              <a:gd name="connsiteX10" fmla="*/ 1763433 w 2747048"/>
              <a:gd name="connsiteY10" fmla="*/ 1021639 h 1021639"/>
              <a:gd name="connsiteX11" fmla="*/ 1960398 w 2747048"/>
              <a:gd name="connsiteY11" fmla="*/ 893775 h 1021639"/>
              <a:gd name="connsiteX12" fmla="*/ 2155406 w 2747048"/>
              <a:gd name="connsiteY12" fmla="*/ 1021639 h 1021639"/>
              <a:gd name="connsiteX13" fmla="*/ 2351393 w 2747048"/>
              <a:gd name="connsiteY13" fmla="*/ 893775 h 1021639"/>
              <a:gd name="connsiteX14" fmla="*/ 2547379 w 2747048"/>
              <a:gd name="connsiteY14" fmla="*/ 1021639 h 1021639"/>
              <a:gd name="connsiteX15" fmla="*/ 2747048 w 2747048"/>
              <a:gd name="connsiteY15" fmla="*/ 893775 h 1021639"/>
              <a:gd name="connsiteX16" fmla="*/ 2743873 w 2747048"/>
              <a:gd name="connsiteY16" fmla="*/ 0 h 1021639"/>
              <a:gd name="connsiteX17" fmla="*/ 3175 w 2747048"/>
              <a:gd name="connsiteY17" fmla="*/ 0 h 1021639"/>
              <a:gd name="connsiteX0" fmla="*/ 3175 w 2747048"/>
              <a:gd name="connsiteY0" fmla="*/ 51881 h 1021639"/>
              <a:gd name="connsiteX1" fmla="*/ 0 w 2747048"/>
              <a:gd name="connsiteY1" fmla="*/ 893775 h 1021639"/>
              <a:gd name="connsiteX2" fmla="*/ 199238 w 2747048"/>
              <a:gd name="connsiteY2" fmla="*/ 1021639 h 1021639"/>
              <a:gd name="connsiteX3" fmla="*/ 394056 w 2747048"/>
              <a:gd name="connsiteY3" fmla="*/ 893775 h 1021639"/>
              <a:gd name="connsiteX4" fmla="*/ 589725 w 2747048"/>
              <a:gd name="connsiteY4" fmla="*/ 1021639 h 1021639"/>
              <a:gd name="connsiteX5" fmla="*/ 785254 w 2747048"/>
              <a:gd name="connsiteY5" fmla="*/ 893775 h 1021639"/>
              <a:gd name="connsiteX6" fmla="*/ 980466 w 2747048"/>
              <a:gd name="connsiteY6" fmla="*/ 1021639 h 1021639"/>
              <a:gd name="connsiteX7" fmla="*/ 1176833 w 2747048"/>
              <a:gd name="connsiteY7" fmla="*/ 893775 h 1021639"/>
              <a:gd name="connsiteX8" fmla="*/ 1372439 w 2747048"/>
              <a:gd name="connsiteY8" fmla="*/ 1021639 h 1021639"/>
              <a:gd name="connsiteX9" fmla="*/ 1568425 w 2747048"/>
              <a:gd name="connsiteY9" fmla="*/ 893775 h 1021639"/>
              <a:gd name="connsiteX10" fmla="*/ 1763433 w 2747048"/>
              <a:gd name="connsiteY10" fmla="*/ 1021639 h 1021639"/>
              <a:gd name="connsiteX11" fmla="*/ 1960398 w 2747048"/>
              <a:gd name="connsiteY11" fmla="*/ 893775 h 1021639"/>
              <a:gd name="connsiteX12" fmla="*/ 2155406 w 2747048"/>
              <a:gd name="connsiteY12" fmla="*/ 1021639 h 1021639"/>
              <a:gd name="connsiteX13" fmla="*/ 2351393 w 2747048"/>
              <a:gd name="connsiteY13" fmla="*/ 893775 h 1021639"/>
              <a:gd name="connsiteX14" fmla="*/ 2547379 w 2747048"/>
              <a:gd name="connsiteY14" fmla="*/ 1021639 h 1021639"/>
              <a:gd name="connsiteX15" fmla="*/ 2747048 w 2747048"/>
              <a:gd name="connsiteY15" fmla="*/ 893775 h 1021639"/>
              <a:gd name="connsiteX16" fmla="*/ 2743873 w 2747048"/>
              <a:gd name="connsiteY16" fmla="*/ 0 h 1021639"/>
              <a:gd name="connsiteX17" fmla="*/ 3175 w 2747048"/>
              <a:gd name="connsiteY17" fmla="*/ 51881 h 1021639"/>
              <a:gd name="connsiteX0" fmla="*/ 3175 w 2747048"/>
              <a:gd name="connsiteY0" fmla="*/ 0 h 969758"/>
              <a:gd name="connsiteX1" fmla="*/ 0 w 2747048"/>
              <a:gd name="connsiteY1" fmla="*/ 841894 h 969758"/>
              <a:gd name="connsiteX2" fmla="*/ 199238 w 2747048"/>
              <a:gd name="connsiteY2" fmla="*/ 969758 h 969758"/>
              <a:gd name="connsiteX3" fmla="*/ 394056 w 2747048"/>
              <a:gd name="connsiteY3" fmla="*/ 841894 h 969758"/>
              <a:gd name="connsiteX4" fmla="*/ 589725 w 2747048"/>
              <a:gd name="connsiteY4" fmla="*/ 969758 h 969758"/>
              <a:gd name="connsiteX5" fmla="*/ 785254 w 2747048"/>
              <a:gd name="connsiteY5" fmla="*/ 841894 h 969758"/>
              <a:gd name="connsiteX6" fmla="*/ 980466 w 2747048"/>
              <a:gd name="connsiteY6" fmla="*/ 969758 h 969758"/>
              <a:gd name="connsiteX7" fmla="*/ 1176833 w 2747048"/>
              <a:gd name="connsiteY7" fmla="*/ 841894 h 969758"/>
              <a:gd name="connsiteX8" fmla="*/ 1372439 w 2747048"/>
              <a:gd name="connsiteY8" fmla="*/ 969758 h 969758"/>
              <a:gd name="connsiteX9" fmla="*/ 1568425 w 2747048"/>
              <a:gd name="connsiteY9" fmla="*/ 841894 h 969758"/>
              <a:gd name="connsiteX10" fmla="*/ 1763433 w 2747048"/>
              <a:gd name="connsiteY10" fmla="*/ 969758 h 969758"/>
              <a:gd name="connsiteX11" fmla="*/ 1960398 w 2747048"/>
              <a:gd name="connsiteY11" fmla="*/ 841894 h 969758"/>
              <a:gd name="connsiteX12" fmla="*/ 2155406 w 2747048"/>
              <a:gd name="connsiteY12" fmla="*/ 969758 h 969758"/>
              <a:gd name="connsiteX13" fmla="*/ 2351393 w 2747048"/>
              <a:gd name="connsiteY13" fmla="*/ 841894 h 969758"/>
              <a:gd name="connsiteX14" fmla="*/ 2547379 w 2747048"/>
              <a:gd name="connsiteY14" fmla="*/ 969758 h 969758"/>
              <a:gd name="connsiteX15" fmla="*/ 2747048 w 2747048"/>
              <a:gd name="connsiteY15" fmla="*/ 841894 h 969758"/>
              <a:gd name="connsiteX16" fmla="*/ 2743873 w 2747048"/>
              <a:gd name="connsiteY16" fmla="*/ 0 h 969758"/>
              <a:gd name="connsiteX17" fmla="*/ 3175 w 2747048"/>
              <a:gd name="connsiteY17" fmla="*/ 0 h 969758"/>
              <a:gd name="connsiteX0" fmla="*/ 297 w 2747412"/>
              <a:gd name="connsiteY0" fmla="*/ 3243 h 969758"/>
              <a:gd name="connsiteX1" fmla="*/ 364 w 2747412"/>
              <a:gd name="connsiteY1" fmla="*/ 841894 h 969758"/>
              <a:gd name="connsiteX2" fmla="*/ 199602 w 2747412"/>
              <a:gd name="connsiteY2" fmla="*/ 969758 h 969758"/>
              <a:gd name="connsiteX3" fmla="*/ 394420 w 2747412"/>
              <a:gd name="connsiteY3" fmla="*/ 841894 h 969758"/>
              <a:gd name="connsiteX4" fmla="*/ 590089 w 2747412"/>
              <a:gd name="connsiteY4" fmla="*/ 969758 h 969758"/>
              <a:gd name="connsiteX5" fmla="*/ 785618 w 2747412"/>
              <a:gd name="connsiteY5" fmla="*/ 841894 h 969758"/>
              <a:gd name="connsiteX6" fmla="*/ 980830 w 2747412"/>
              <a:gd name="connsiteY6" fmla="*/ 969758 h 969758"/>
              <a:gd name="connsiteX7" fmla="*/ 1177197 w 2747412"/>
              <a:gd name="connsiteY7" fmla="*/ 841894 h 969758"/>
              <a:gd name="connsiteX8" fmla="*/ 1372803 w 2747412"/>
              <a:gd name="connsiteY8" fmla="*/ 969758 h 969758"/>
              <a:gd name="connsiteX9" fmla="*/ 1568789 w 2747412"/>
              <a:gd name="connsiteY9" fmla="*/ 841894 h 969758"/>
              <a:gd name="connsiteX10" fmla="*/ 1763797 w 2747412"/>
              <a:gd name="connsiteY10" fmla="*/ 969758 h 969758"/>
              <a:gd name="connsiteX11" fmla="*/ 1960762 w 2747412"/>
              <a:gd name="connsiteY11" fmla="*/ 841894 h 969758"/>
              <a:gd name="connsiteX12" fmla="*/ 2155770 w 2747412"/>
              <a:gd name="connsiteY12" fmla="*/ 969758 h 969758"/>
              <a:gd name="connsiteX13" fmla="*/ 2351757 w 2747412"/>
              <a:gd name="connsiteY13" fmla="*/ 841894 h 969758"/>
              <a:gd name="connsiteX14" fmla="*/ 2547743 w 2747412"/>
              <a:gd name="connsiteY14" fmla="*/ 969758 h 969758"/>
              <a:gd name="connsiteX15" fmla="*/ 2747412 w 2747412"/>
              <a:gd name="connsiteY15" fmla="*/ 841894 h 969758"/>
              <a:gd name="connsiteX16" fmla="*/ 2744237 w 2747412"/>
              <a:gd name="connsiteY16" fmla="*/ 0 h 969758"/>
              <a:gd name="connsiteX17" fmla="*/ 297 w 2747412"/>
              <a:gd name="connsiteY17" fmla="*/ 3243 h 969758"/>
              <a:gd name="connsiteX0" fmla="*/ 297 w 2747412"/>
              <a:gd name="connsiteY0" fmla="*/ 0 h 973000"/>
              <a:gd name="connsiteX1" fmla="*/ 364 w 2747412"/>
              <a:gd name="connsiteY1" fmla="*/ 845136 h 973000"/>
              <a:gd name="connsiteX2" fmla="*/ 199602 w 2747412"/>
              <a:gd name="connsiteY2" fmla="*/ 973000 h 973000"/>
              <a:gd name="connsiteX3" fmla="*/ 394420 w 2747412"/>
              <a:gd name="connsiteY3" fmla="*/ 845136 h 973000"/>
              <a:gd name="connsiteX4" fmla="*/ 590089 w 2747412"/>
              <a:gd name="connsiteY4" fmla="*/ 973000 h 973000"/>
              <a:gd name="connsiteX5" fmla="*/ 785618 w 2747412"/>
              <a:gd name="connsiteY5" fmla="*/ 845136 h 973000"/>
              <a:gd name="connsiteX6" fmla="*/ 980830 w 2747412"/>
              <a:gd name="connsiteY6" fmla="*/ 973000 h 973000"/>
              <a:gd name="connsiteX7" fmla="*/ 1177197 w 2747412"/>
              <a:gd name="connsiteY7" fmla="*/ 845136 h 973000"/>
              <a:gd name="connsiteX8" fmla="*/ 1372803 w 2747412"/>
              <a:gd name="connsiteY8" fmla="*/ 973000 h 973000"/>
              <a:gd name="connsiteX9" fmla="*/ 1568789 w 2747412"/>
              <a:gd name="connsiteY9" fmla="*/ 845136 h 973000"/>
              <a:gd name="connsiteX10" fmla="*/ 1763797 w 2747412"/>
              <a:gd name="connsiteY10" fmla="*/ 973000 h 973000"/>
              <a:gd name="connsiteX11" fmla="*/ 1960762 w 2747412"/>
              <a:gd name="connsiteY11" fmla="*/ 845136 h 973000"/>
              <a:gd name="connsiteX12" fmla="*/ 2155770 w 2747412"/>
              <a:gd name="connsiteY12" fmla="*/ 973000 h 973000"/>
              <a:gd name="connsiteX13" fmla="*/ 2351757 w 2747412"/>
              <a:gd name="connsiteY13" fmla="*/ 845136 h 973000"/>
              <a:gd name="connsiteX14" fmla="*/ 2547743 w 2747412"/>
              <a:gd name="connsiteY14" fmla="*/ 973000 h 973000"/>
              <a:gd name="connsiteX15" fmla="*/ 2747412 w 2747412"/>
              <a:gd name="connsiteY15" fmla="*/ 845136 h 973000"/>
              <a:gd name="connsiteX16" fmla="*/ 2744237 w 2747412"/>
              <a:gd name="connsiteY16" fmla="*/ 3242 h 973000"/>
              <a:gd name="connsiteX17" fmla="*/ 297 w 2747412"/>
              <a:gd name="connsiteY17" fmla="*/ 0 h 973000"/>
              <a:gd name="connsiteX0" fmla="*/ 3175 w 2747048"/>
              <a:gd name="connsiteY0" fmla="*/ 0 h 973000"/>
              <a:gd name="connsiteX1" fmla="*/ 0 w 2747048"/>
              <a:gd name="connsiteY1" fmla="*/ 845136 h 973000"/>
              <a:gd name="connsiteX2" fmla="*/ 199238 w 2747048"/>
              <a:gd name="connsiteY2" fmla="*/ 973000 h 973000"/>
              <a:gd name="connsiteX3" fmla="*/ 394056 w 2747048"/>
              <a:gd name="connsiteY3" fmla="*/ 845136 h 973000"/>
              <a:gd name="connsiteX4" fmla="*/ 589725 w 2747048"/>
              <a:gd name="connsiteY4" fmla="*/ 973000 h 973000"/>
              <a:gd name="connsiteX5" fmla="*/ 785254 w 2747048"/>
              <a:gd name="connsiteY5" fmla="*/ 845136 h 973000"/>
              <a:gd name="connsiteX6" fmla="*/ 980466 w 2747048"/>
              <a:gd name="connsiteY6" fmla="*/ 973000 h 973000"/>
              <a:gd name="connsiteX7" fmla="*/ 1176833 w 2747048"/>
              <a:gd name="connsiteY7" fmla="*/ 845136 h 973000"/>
              <a:gd name="connsiteX8" fmla="*/ 1372439 w 2747048"/>
              <a:gd name="connsiteY8" fmla="*/ 973000 h 973000"/>
              <a:gd name="connsiteX9" fmla="*/ 1568425 w 2747048"/>
              <a:gd name="connsiteY9" fmla="*/ 845136 h 973000"/>
              <a:gd name="connsiteX10" fmla="*/ 1763433 w 2747048"/>
              <a:gd name="connsiteY10" fmla="*/ 973000 h 973000"/>
              <a:gd name="connsiteX11" fmla="*/ 1960398 w 2747048"/>
              <a:gd name="connsiteY11" fmla="*/ 845136 h 973000"/>
              <a:gd name="connsiteX12" fmla="*/ 2155406 w 2747048"/>
              <a:gd name="connsiteY12" fmla="*/ 973000 h 973000"/>
              <a:gd name="connsiteX13" fmla="*/ 2351393 w 2747048"/>
              <a:gd name="connsiteY13" fmla="*/ 845136 h 973000"/>
              <a:gd name="connsiteX14" fmla="*/ 2547379 w 2747048"/>
              <a:gd name="connsiteY14" fmla="*/ 973000 h 973000"/>
              <a:gd name="connsiteX15" fmla="*/ 2747048 w 2747048"/>
              <a:gd name="connsiteY15" fmla="*/ 845136 h 973000"/>
              <a:gd name="connsiteX16" fmla="*/ 2743873 w 2747048"/>
              <a:gd name="connsiteY16" fmla="*/ 3242 h 973000"/>
              <a:gd name="connsiteX17" fmla="*/ 3175 w 2747048"/>
              <a:gd name="connsiteY17" fmla="*/ 0 h 973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747048" h="973000">
                <a:moveTo>
                  <a:pt x="3175" y="0"/>
                </a:moveTo>
                <a:cubicBezTo>
                  <a:pt x="2117" y="297925"/>
                  <a:pt x="1058" y="547211"/>
                  <a:pt x="0" y="845136"/>
                </a:cubicBezTo>
                <a:lnTo>
                  <a:pt x="199238" y="973000"/>
                </a:lnTo>
                <a:lnTo>
                  <a:pt x="394056" y="845136"/>
                </a:lnTo>
                <a:lnTo>
                  <a:pt x="589725" y="973000"/>
                </a:lnTo>
                <a:lnTo>
                  <a:pt x="785254" y="845136"/>
                </a:lnTo>
                <a:lnTo>
                  <a:pt x="980466" y="973000"/>
                </a:lnTo>
                <a:lnTo>
                  <a:pt x="1176833" y="845136"/>
                </a:lnTo>
                <a:lnTo>
                  <a:pt x="1372439" y="973000"/>
                </a:lnTo>
                <a:lnTo>
                  <a:pt x="1568425" y="845136"/>
                </a:lnTo>
                <a:lnTo>
                  <a:pt x="1763433" y="973000"/>
                </a:lnTo>
                <a:lnTo>
                  <a:pt x="1960398" y="845136"/>
                </a:lnTo>
                <a:lnTo>
                  <a:pt x="2155406" y="973000"/>
                </a:lnTo>
                <a:lnTo>
                  <a:pt x="2351393" y="845136"/>
                </a:lnTo>
                <a:lnTo>
                  <a:pt x="2547379" y="973000"/>
                </a:lnTo>
                <a:lnTo>
                  <a:pt x="2747048" y="845136"/>
                </a:lnTo>
                <a:cubicBezTo>
                  <a:pt x="2745990" y="547211"/>
                  <a:pt x="2744931" y="301167"/>
                  <a:pt x="2743873" y="3242"/>
                </a:cubicBezTo>
                <a:lnTo>
                  <a:pt x="3175" y="0"/>
                </a:lnTo>
                <a:close/>
              </a:path>
            </a:pathLst>
          </a:custGeom>
          <a:solidFill>
            <a:srgbClr val="FEFFFE"/>
          </a:solidFill>
          <a:ln w="12700">
            <a:solidFill>
              <a:srgbClr val="6F7878"/>
            </a:solidFill>
          </a:ln>
        </p:spPr>
        <p:txBody>
          <a:bodyPr/>
          <a:lstStyle/>
          <a:p>
            <a:r>
              <a:rPr lang="en-US" sz="750" dirty="0"/>
              <a:t>When interacting with another team during a cross-functional project, you notice that their manager doesn’t invite the oldest of his employees to meetings, rolls his eyes when he speaks, and has said </a:t>
            </a:r>
            <a:r>
              <a:rPr lang="en-US" sz="750" b="1" dirty="0"/>
              <a:t>mildly disparaging comments about them in earshot</a:t>
            </a:r>
            <a:r>
              <a:rPr lang="en-US" sz="750" dirty="0"/>
              <a:t>. While you don’t like it, you’re not sure if it’s bad enough to be “discrimination.”</a:t>
            </a:r>
            <a:endParaRPr lang="en-US" sz="788" dirty="0"/>
          </a:p>
          <a:p>
            <a:endParaRPr lang="en-US" sz="788" dirty="0"/>
          </a:p>
        </p:txBody>
      </p:sp>
      <p:sp>
        <p:nvSpPr>
          <p:cNvPr id="15" name="Freeform 21">
            <a:extLst>
              <a:ext uri="{FF2B5EF4-FFF2-40B4-BE49-F238E27FC236}">
                <a16:creationId xmlns:a16="http://schemas.microsoft.com/office/drawing/2014/main" id="{B5FF4012-4D0D-472C-88E1-E185FD248A23}"/>
              </a:ext>
            </a:extLst>
          </p:cNvPr>
          <p:cNvSpPr/>
          <p:nvPr/>
        </p:nvSpPr>
        <p:spPr>
          <a:xfrm>
            <a:off x="6300937" y="2612168"/>
            <a:ext cx="1985210" cy="1291963"/>
          </a:xfrm>
          <a:custGeom>
            <a:avLst/>
            <a:gdLst>
              <a:gd name="connsiteX0" fmla="*/ 3175 w 2747048"/>
              <a:gd name="connsiteY0" fmla="*/ 482600 h 1504239"/>
              <a:gd name="connsiteX1" fmla="*/ 0 w 2747048"/>
              <a:gd name="connsiteY1" fmla="*/ 1376375 h 1504239"/>
              <a:gd name="connsiteX2" fmla="*/ 199238 w 2747048"/>
              <a:gd name="connsiteY2" fmla="*/ 1504239 h 1504239"/>
              <a:gd name="connsiteX3" fmla="*/ 394056 w 2747048"/>
              <a:gd name="connsiteY3" fmla="*/ 1376375 h 1504239"/>
              <a:gd name="connsiteX4" fmla="*/ 589725 w 2747048"/>
              <a:gd name="connsiteY4" fmla="*/ 1504239 h 1504239"/>
              <a:gd name="connsiteX5" fmla="*/ 785254 w 2747048"/>
              <a:gd name="connsiteY5" fmla="*/ 1376375 h 1504239"/>
              <a:gd name="connsiteX6" fmla="*/ 980466 w 2747048"/>
              <a:gd name="connsiteY6" fmla="*/ 1504239 h 1504239"/>
              <a:gd name="connsiteX7" fmla="*/ 1176833 w 2747048"/>
              <a:gd name="connsiteY7" fmla="*/ 1376375 h 1504239"/>
              <a:gd name="connsiteX8" fmla="*/ 1372439 w 2747048"/>
              <a:gd name="connsiteY8" fmla="*/ 1504239 h 1504239"/>
              <a:gd name="connsiteX9" fmla="*/ 1568425 w 2747048"/>
              <a:gd name="connsiteY9" fmla="*/ 1376375 h 1504239"/>
              <a:gd name="connsiteX10" fmla="*/ 1763433 w 2747048"/>
              <a:gd name="connsiteY10" fmla="*/ 1504239 h 1504239"/>
              <a:gd name="connsiteX11" fmla="*/ 1960398 w 2747048"/>
              <a:gd name="connsiteY11" fmla="*/ 1376375 h 1504239"/>
              <a:gd name="connsiteX12" fmla="*/ 2155406 w 2747048"/>
              <a:gd name="connsiteY12" fmla="*/ 1504239 h 1504239"/>
              <a:gd name="connsiteX13" fmla="*/ 2351393 w 2747048"/>
              <a:gd name="connsiteY13" fmla="*/ 1376375 h 1504239"/>
              <a:gd name="connsiteX14" fmla="*/ 2547379 w 2747048"/>
              <a:gd name="connsiteY14" fmla="*/ 1504239 h 1504239"/>
              <a:gd name="connsiteX15" fmla="*/ 2747048 w 2747048"/>
              <a:gd name="connsiteY15" fmla="*/ 1376375 h 1504239"/>
              <a:gd name="connsiteX16" fmla="*/ 2747048 w 2747048"/>
              <a:gd name="connsiteY16" fmla="*/ 0 h 1504239"/>
              <a:gd name="connsiteX17" fmla="*/ 3175 w 2747048"/>
              <a:gd name="connsiteY17" fmla="*/ 482600 h 1504239"/>
              <a:gd name="connsiteX0" fmla="*/ 3175 w 2747048"/>
              <a:gd name="connsiteY0" fmla="*/ 0 h 1021639"/>
              <a:gd name="connsiteX1" fmla="*/ 0 w 2747048"/>
              <a:gd name="connsiteY1" fmla="*/ 893775 h 1021639"/>
              <a:gd name="connsiteX2" fmla="*/ 199238 w 2747048"/>
              <a:gd name="connsiteY2" fmla="*/ 1021639 h 1021639"/>
              <a:gd name="connsiteX3" fmla="*/ 394056 w 2747048"/>
              <a:gd name="connsiteY3" fmla="*/ 893775 h 1021639"/>
              <a:gd name="connsiteX4" fmla="*/ 589725 w 2747048"/>
              <a:gd name="connsiteY4" fmla="*/ 1021639 h 1021639"/>
              <a:gd name="connsiteX5" fmla="*/ 785254 w 2747048"/>
              <a:gd name="connsiteY5" fmla="*/ 893775 h 1021639"/>
              <a:gd name="connsiteX6" fmla="*/ 980466 w 2747048"/>
              <a:gd name="connsiteY6" fmla="*/ 1021639 h 1021639"/>
              <a:gd name="connsiteX7" fmla="*/ 1176833 w 2747048"/>
              <a:gd name="connsiteY7" fmla="*/ 893775 h 1021639"/>
              <a:gd name="connsiteX8" fmla="*/ 1372439 w 2747048"/>
              <a:gd name="connsiteY8" fmla="*/ 1021639 h 1021639"/>
              <a:gd name="connsiteX9" fmla="*/ 1568425 w 2747048"/>
              <a:gd name="connsiteY9" fmla="*/ 893775 h 1021639"/>
              <a:gd name="connsiteX10" fmla="*/ 1763433 w 2747048"/>
              <a:gd name="connsiteY10" fmla="*/ 1021639 h 1021639"/>
              <a:gd name="connsiteX11" fmla="*/ 1960398 w 2747048"/>
              <a:gd name="connsiteY11" fmla="*/ 893775 h 1021639"/>
              <a:gd name="connsiteX12" fmla="*/ 2155406 w 2747048"/>
              <a:gd name="connsiteY12" fmla="*/ 1021639 h 1021639"/>
              <a:gd name="connsiteX13" fmla="*/ 2351393 w 2747048"/>
              <a:gd name="connsiteY13" fmla="*/ 893775 h 1021639"/>
              <a:gd name="connsiteX14" fmla="*/ 2547379 w 2747048"/>
              <a:gd name="connsiteY14" fmla="*/ 1021639 h 1021639"/>
              <a:gd name="connsiteX15" fmla="*/ 2747048 w 2747048"/>
              <a:gd name="connsiteY15" fmla="*/ 893775 h 1021639"/>
              <a:gd name="connsiteX16" fmla="*/ 2743873 w 2747048"/>
              <a:gd name="connsiteY16" fmla="*/ 0 h 1021639"/>
              <a:gd name="connsiteX17" fmla="*/ 3175 w 2747048"/>
              <a:gd name="connsiteY17" fmla="*/ 0 h 1021639"/>
              <a:gd name="connsiteX0" fmla="*/ 3175 w 2747048"/>
              <a:gd name="connsiteY0" fmla="*/ 51881 h 1021639"/>
              <a:gd name="connsiteX1" fmla="*/ 0 w 2747048"/>
              <a:gd name="connsiteY1" fmla="*/ 893775 h 1021639"/>
              <a:gd name="connsiteX2" fmla="*/ 199238 w 2747048"/>
              <a:gd name="connsiteY2" fmla="*/ 1021639 h 1021639"/>
              <a:gd name="connsiteX3" fmla="*/ 394056 w 2747048"/>
              <a:gd name="connsiteY3" fmla="*/ 893775 h 1021639"/>
              <a:gd name="connsiteX4" fmla="*/ 589725 w 2747048"/>
              <a:gd name="connsiteY4" fmla="*/ 1021639 h 1021639"/>
              <a:gd name="connsiteX5" fmla="*/ 785254 w 2747048"/>
              <a:gd name="connsiteY5" fmla="*/ 893775 h 1021639"/>
              <a:gd name="connsiteX6" fmla="*/ 980466 w 2747048"/>
              <a:gd name="connsiteY6" fmla="*/ 1021639 h 1021639"/>
              <a:gd name="connsiteX7" fmla="*/ 1176833 w 2747048"/>
              <a:gd name="connsiteY7" fmla="*/ 893775 h 1021639"/>
              <a:gd name="connsiteX8" fmla="*/ 1372439 w 2747048"/>
              <a:gd name="connsiteY8" fmla="*/ 1021639 h 1021639"/>
              <a:gd name="connsiteX9" fmla="*/ 1568425 w 2747048"/>
              <a:gd name="connsiteY9" fmla="*/ 893775 h 1021639"/>
              <a:gd name="connsiteX10" fmla="*/ 1763433 w 2747048"/>
              <a:gd name="connsiteY10" fmla="*/ 1021639 h 1021639"/>
              <a:gd name="connsiteX11" fmla="*/ 1960398 w 2747048"/>
              <a:gd name="connsiteY11" fmla="*/ 893775 h 1021639"/>
              <a:gd name="connsiteX12" fmla="*/ 2155406 w 2747048"/>
              <a:gd name="connsiteY12" fmla="*/ 1021639 h 1021639"/>
              <a:gd name="connsiteX13" fmla="*/ 2351393 w 2747048"/>
              <a:gd name="connsiteY13" fmla="*/ 893775 h 1021639"/>
              <a:gd name="connsiteX14" fmla="*/ 2547379 w 2747048"/>
              <a:gd name="connsiteY14" fmla="*/ 1021639 h 1021639"/>
              <a:gd name="connsiteX15" fmla="*/ 2747048 w 2747048"/>
              <a:gd name="connsiteY15" fmla="*/ 893775 h 1021639"/>
              <a:gd name="connsiteX16" fmla="*/ 2743873 w 2747048"/>
              <a:gd name="connsiteY16" fmla="*/ 0 h 1021639"/>
              <a:gd name="connsiteX17" fmla="*/ 3175 w 2747048"/>
              <a:gd name="connsiteY17" fmla="*/ 51881 h 1021639"/>
              <a:gd name="connsiteX0" fmla="*/ 3175 w 2747048"/>
              <a:gd name="connsiteY0" fmla="*/ 0 h 969758"/>
              <a:gd name="connsiteX1" fmla="*/ 0 w 2747048"/>
              <a:gd name="connsiteY1" fmla="*/ 841894 h 969758"/>
              <a:gd name="connsiteX2" fmla="*/ 199238 w 2747048"/>
              <a:gd name="connsiteY2" fmla="*/ 969758 h 969758"/>
              <a:gd name="connsiteX3" fmla="*/ 394056 w 2747048"/>
              <a:gd name="connsiteY3" fmla="*/ 841894 h 969758"/>
              <a:gd name="connsiteX4" fmla="*/ 589725 w 2747048"/>
              <a:gd name="connsiteY4" fmla="*/ 969758 h 969758"/>
              <a:gd name="connsiteX5" fmla="*/ 785254 w 2747048"/>
              <a:gd name="connsiteY5" fmla="*/ 841894 h 969758"/>
              <a:gd name="connsiteX6" fmla="*/ 980466 w 2747048"/>
              <a:gd name="connsiteY6" fmla="*/ 969758 h 969758"/>
              <a:gd name="connsiteX7" fmla="*/ 1176833 w 2747048"/>
              <a:gd name="connsiteY7" fmla="*/ 841894 h 969758"/>
              <a:gd name="connsiteX8" fmla="*/ 1372439 w 2747048"/>
              <a:gd name="connsiteY8" fmla="*/ 969758 h 969758"/>
              <a:gd name="connsiteX9" fmla="*/ 1568425 w 2747048"/>
              <a:gd name="connsiteY9" fmla="*/ 841894 h 969758"/>
              <a:gd name="connsiteX10" fmla="*/ 1763433 w 2747048"/>
              <a:gd name="connsiteY10" fmla="*/ 969758 h 969758"/>
              <a:gd name="connsiteX11" fmla="*/ 1960398 w 2747048"/>
              <a:gd name="connsiteY11" fmla="*/ 841894 h 969758"/>
              <a:gd name="connsiteX12" fmla="*/ 2155406 w 2747048"/>
              <a:gd name="connsiteY12" fmla="*/ 969758 h 969758"/>
              <a:gd name="connsiteX13" fmla="*/ 2351393 w 2747048"/>
              <a:gd name="connsiteY13" fmla="*/ 841894 h 969758"/>
              <a:gd name="connsiteX14" fmla="*/ 2547379 w 2747048"/>
              <a:gd name="connsiteY14" fmla="*/ 969758 h 969758"/>
              <a:gd name="connsiteX15" fmla="*/ 2747048 w 2747048"/>
              <a:gd name="connsiteY15" fmla="*/ 841894 h 969758"/>
              <a:gd name="connsiteX16" fmla="*/ 2743873 w 2747048"/>
              <a:gd name="connsiteY16" fmla="*/ 0 h 969758"/>
              <a:gd name="connsiteX17" fmla="*/ 3175 w 2747048"/>
              <a:gd name="connsiteY17" fmla="*/ 0 h 969758"/>
              <a:gd name="connsiteX0" fmla="*/ 297 w 2747412"/>
              <a:gd name="connsiteY0" fmla="*/ 3243 h 969758"/>
              <a:gd name="connsiteX1" fmla="*/ 364 w 2747412"/>
              <a:gd name="connsiteY1" fmla="*/ 841894 h 969758"/>
              <a:gd name="connsiteX2" fmla="*/ 199602 w 2747412"/>
              <a:gd name="connsiteY2" fmla="*/ 969758 h 969758"/>
              <a:gd name="connsiteX3" fmla="*/ 394420 w 2747412"/>
              <a:gd name="connsiteY3" fmla="*/ 841894 h 969758"/>
              <a:gd name="connsiteX4" fmla="*/ 590089 w 2747412"/>
              <a:gd name="connsiteY4" fmla="*/ 969758 h 969758"/>
              <a:gd name="connsiteX5" fmla="*/ 785618 w 2747412"/>
              <a:gd name="connsiteY5" fmla="*/ 841894 h 969758"/>
              <a:gd name="connsiteX6" fmla="*/ 980830 w 2747412"/>
              <a:gd name="connsiteY6" fmla="*/ 969758 h 969758"/>
              <a:gd name="connsiteX7" fmla="*/ 1177197 w 2747412"/>
              <a:gd name="connsiteY7" fmla="*/ 841894 h 969758"/>
              <a:gd name="connsiteX8" fmla="*/ 1372803 w 2747412"/>
              <a:gd name="connsiteY8" fmla="*/ 969758 h 969758"/>
              <a:gd name="connsiteX9" fmla="*/ 1568789 w 2747412"/>
              <a:gd name="connsiteY9" fmla="*/ 841894 h 969758"/>
              <a:gd name="connsiteX10" fmla="*/ 1763797 w 2747412"/>
              <a:gd name="connsiteY10" fmla="*/ 969758 h 969758"/>
              <a:gd name="connsiteX11" fmla="*/ 1960762 w 2747412"/>
              <a:gd name="connsiteY11" fmla="*/ 841894 h 969758"/>
              <a:gd name="connsiteX12" fmla="*/ 2155770 w 2747412"/>
              <a:gd name="connsiteY12" fmla="*/ 969758 h 969758"/>
              <a:gd name="connsiteX13" fmla="*/ 2351757 w 2747412"/>
              <a:gd name="connsiteY13" fmla="*/ 841894 h 969758"/>
              <a:gd name="connsiteX14" fmla="*/ 2547743 w 2747412"/>
              <a:gd name="connsiteY14" fmla="*/ 969758 h 969758"/>
              <a:gd name="connsiteX15" fmla="*/ 2747412 w 2747412"/>
              <a:gd name="connsiteY15" fmla="*/ 841894 h 969758"/>
              <a:gd name="connsiteX16" fmla="*/ 2744237 w 2747412"/>
              <a:gd name="connsiteY16" fmla="*/ 0 h 969758"/>
              <a:gd name="connsiteX17" fmla="*/ 297 w 2747412"/>
              <a:gd name="connsiteY17" fmla="*/ 3243 h 969758"/>
              <a:gd name="connsiteX0" fmla="*/ 297 w 2747412"/>
              <a:gd name="connsiteY0" fmla="*/ 0 h 973000"/>
              <a:gd name="connsiteX1" fmla="*/ 364 w 2747412"/>
              <a:gd name="connsiteY1" fmla="*/ 845136 h 973000"/>
              <a:gd name="connsiteX2" fmla="*/ 199602 w 2747412"/>
              <a:gd name="connsiteY2" fmla="*/ 973000 h 973000"/>
              <a:gd name="connsiteX3" fmla="*/ 394420 w 2747412"/>
              <a:gd name="connsiteY3" fmla="*/ 845136 h 973000"/>
              <a:gd name="connsiteX4" fmla="*/ 590089 w 2747412"/>
              <a:gd name="connsiteY4" fmla="*/ 973000 h 973000"/>
              <a:gd name="connsiteX5" fmla="*/ 785618 w 2747412"/>
              <a:gd name="connsiteY5" fmla="*/ 845136 h 973000"/>
              <a:gd name="connsiteX6" fmla="*/ 980830 w 2747412"/>
              <a:gd name="connsiteY6" fmla="*/ 973000 h 973000"/>
              <a:gd name="connsiteX7" fmla="*/ 1177197 w 2747412"/>
              <a:gd name="connsiteY7" fmla="*/ 845136 h 973000"/>
              <a:gd name="connsiteX8" fmla="*/ 1372803 w 2747412"/>
              <a:gd name="connsiteY8" fmla="*/ 973000 h 973000"/>
              <a:gd name="connsiteX9" fmla="*/ 1568789 w 2747412"/>
              <a:gd name="connsiteY9" fmla="*/ 845136 h 973000"/>
              <a:gd name="connsiteX10" fmla="*/ 1763797 w 2747412"/>
              <a:gd name="connsiteY10" fmla="*/ 973000 h 973000"/>
              <a:gd name="connsiteX11" fmla="*/ 1960762 w 2747412"/>
              <a:gd name="connsiteY11" fmla="*/ 845136 h 973000"/>
              <a:gd name="connsiteX12" fmla="*/ 2155770 w 2747412"/>
              <a:gd name="connsiteY12" fmla="*/ 973000 h 973000"/>
              <a:gd name="connsiteX13" fmla="*/ 2351757 w 2747412"/>
              <a:gd name="connsiteY13" fmla="*/ 845136 h 973000"/>
              <a:gd name="connsiteX14" fmla="*/ 2547743 w 2747412"/>
              <a:gd name="connsiteY14" fmla="*/ 973000 h 973000"/>
              <a:gd name="connsiteX15" fmla="*/ 2747412 w 2747412"/>
              <a:gd name="connsiteY15" fmla="*/ 845136 h 973000"/>
              <a:gd name="connsiteX16" fmla="*/ 2744237 w 2747412"/>
              <a:gd name="connsiteY16" fmla="*/ 3242 h 973000"/>
              <a:gd name="connsiteX17" fmla="*/ 297 w 2747412"/>
              <a:gd name="connsiteY17" fmla="*/ 0 h 973000"/>
              <a:gd name="connsiteX0" fmla="*/ 3175 w 2747048"/>
              <a:gd name="connsiteY0" fmla="*/ 0 h 973000"/>
              <a:gd name="connsiteX1" fmla="*/ 0 w 2747048"/>
              <a:gd name="connsiteY1" fmla="*/ 845136 h 973000"/>
              <a:gd name="connsiteX2" fmla="*/ 199238 w 2747048"/>
              <a:gd name="connsiteY2" fmla="*/ 973000 h 973000"/>
              <a:gd name="connsiteX3" fmla="*/ 394056 w 2747048"/>
              <a:gd name="connsiteY3" fmla="*/ 845136 h 973000"/>
              <a:gd name="connsiteX4" fmla="*/ 589725 w 2747048"/>
              <a:gd name="connsiteY4" fmla="*/ 973000 h 973000"/>
              <a:gd name="connsiteX5" fmla="*/ 785254 w 2747048"/>
              <a:gd name="connsiteY5" fmla="*/ 845136 h 973000"/>
              <a:gd name="connsiteX6" fmla="*/ 980466 w 2747048"/>
              <a:gd name="connsiteY6" fmla="*/ 973000 h 973000"/>
              <a:gd name="connsiteX7" fmla="*/ 1176833 w 2747048"/>
              <a:gd name="connsiteY7" fmla="*/ 845136 h 973000"/>
              <a:gd name="connsiteX8" fmla="*/ 1372439 w 2747048"/>
              <a:gd name="connsiteY8" fmla="*/ 973000 h 973000"/>
              <a:gd name="connsiteX9" fmla="*/ 1568425 w 2747048"/>
              <a:gd name="connsiteY9" fmla="*/ 845136 h 973000"/>
              <a:gd name="connsiteX10" fmla="*/ 1763433 w 2747048"/>
              <a:gd name="connsiteY10" fmla="*/ 973000 h 973000"/>
              <a:gd name="connsiteX11" fmla="*/ 1960398 w 2747048"/>
              <a:gd name="connsiteY11" fmla="*/ 845136 h 973000"/>
              <a:gd name="connsiteX12" fmla="*/ 2155406 w 2747048"/>
              <a:gd name="connsiteY12" fmla="*/ 973000 h 973000"/>
              <a:gd name="connsiteX13" fmla="*/ 2351393 w 2747048"/>
              <a:gd name="connsiteY13" fmla="*/ 845136 h 973000"/>
              <a:gd name="connsiteX14" fmla="*/ 2547379 w 2747048"/>
              <a:gd name="connsiteY14" fmla="*/ 973000 h 973000"/>
              <a:gd name="connsiteX15" fmla="*/ 2747048 w 2747048"/>
              <a:gd name="connsiteY15" fmla="*/ 845136 h 973000"/>
              <a:gd name="connsiteX16" fmla="*/ 2743873 w 2747048"/>
              <a:gd name="connsiteY16" fmla="*/ 3242 h 973000"/>
              <a:gd name="connsiteX17" fmla="*/ 3175 w 2747048"/>
              <a:gd name="connsiteY17" fmla="*/ 0 h 973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747048" h="973000">
                <a:moveTo>
                  <a:pt x="3175" y="0"/>
                </a:moveTo>
                <a:cubicBezTo>
                  <a:pt x="2117" y="297925"/>
                  <a:pt x="1058" y="547211"/>
                  <a:pt x="0" y="845136"/>
                </a:cubicBezTo>
                <a:lnTo>
                  <a:pt x="199238" y="973000"/>
                </a:lnTo>
                <a:lnTo>
                  <a:pt x="394056" y="845136"/>
                </a:lnTo>
                <a:lnTo>
                  <a:pt x="589725" y="973000"/>
                </a:lnTo>
                <a:lnTo>
                  <a:pt x="785254" y="845136"/>
                </a:lnTo>
                <a:lnTo>
                  <a:pt x="980466" y="973000"/>
                </a:lnTo>
                <a:lnTo>
                  <a:pt x="1176833" y="845136"/>
                </a:lnTo>
                <a:lnTo>
                  <a:pt x="1372439" y="973000"/>
                </a:lnTo>
                <a:lnTo>
                  <a:pt x="1568425" y="845136"/>
                </a:lnTo>
                <a:lnTo>
                  <a:pt x="1763433" y="973000"/>
                </a:lnTo>
                <a:lnTo>
                  <a:pt x="1960398" y="845136"/>
                </a:lnTo>
                <a:lnTo>
                  <a:pt x="2155406" y="973000"/>
                </a:lnTo>
                <a:lnTo>
                  <a:pt x="2351393" y="845136"/>
                </a:lnTo>
                <a:lnTo>
                  <a:pt x="2547379" y="973000"/>
                </a:lnTo>
                <a:lnTo>
                  <a:pt x="2747048" y="845136"/>
                </a:lnTo>
                <a:cubicBezTo>
                  <a:pt x="2745990" y="547211"/>
                  <a:pt x="2744931" y="301167"/>
                  <a:pt x="2743873" y="3242"/>
                </a:cubicBezTo>
                <a:lnTo>
                  <a:pt x="3175" y="0"/>
                </a:lnTo>
                <a:close/>
              </a:path>
            </a:pathLst>
          </a:custGeom>
          <a:solidFill>
            <a:srgbClr val="FEFFFE"/>
          </a:solidFill>
          <a:ln w="12700">
            <a:solidFill>
              <a:srgbClr val="6F7878"/>
            </a:solidFill>
          </a:ln>
        </p:spPr>
        <p:txBody>
          <a:bodyPr/>
          <a:lstStyle/>
          <a:p>
            <a:r>
              <a:rPr lang="en-US" sz="750" dirty="0"/>
              <a:t>Your department has a bi-weekly lunch at a local spot to talk business, make connections, and get to know each other. You </a:t>
            </a:r>
            <a:r>
              <a:rPr lang="en-US" sz="750" b="1" dirty="0"/>
              <a:t>have a disability and this restaurant is not accessible for you</a:t>
            </a:r>
            <a:r>
              <a:rPr lang="en-US" sz="750" dirty="0"/>
              <a:t>. When you ask if this lunch could be moved to a place that is accessible, the organizer refuses. As a result, you are the only team member who cannot attend these lunches. </a:t>
            </a:r>
          </a:p>
        </p:txBody>
      </p:sp>
      <p:sp>
        <p:nvSpPr>
          <p:cNvPr id="16" name="TextBox 15">
            <a:extLst>
              <a:ext uri="{FF2B5EF4-FFF2-40B4-BE49-F238E27FC236}">
                <a16:creationId xmlns:a16="http://schemas.microsoft.com/office/drawing/2014/main" id="{DC573E1C-2200-486E-9D85-F0253C990BEA}"/>
              </a:ext>
            </a:extLst>
          </p:cNvPr>
          <p:cNvSpPr txBox="1"/>
          <p:nvPr/>
        </p:nvSpPr>
        <p:spPr>
          <a:xfrm>
            <a:off x="3522244" y="4138947"/>
            <a:ext cx="1988820" cy="946413"/>
          </a:xfrm>
          <a:prstGeom prst="rect">
            <a:avLst/>
          </a:prstGeom>
          <a:noFill/>
          <a:ln>
            <a:solidFill>
              <a:schemeClr val="tx1"/>
            </a:solidFill>
          </a:ln>
        </p:spPr>
        <p:txBody>
          <a:bodyPr wrap="square" lIns="68580" tIns="68580" bIns="68580" rtlCol="0">
            <a:spAutoFit/>
          </a:bodyPr>
          <a:lstStyle/>
          <a:p>
            <a:pPr marL="128588" indent="-128588">
              <a:buFont typeface="Arial" panose="020B0604020202020204" pitchFamily="34" charset="0"/>
              <a:buChar char="•"/>
            </a:pPr>
            <a:r>
              <a:rPr lang="en-US" sz="750" i="1" dirty="0"/>
              <a:t>Even though it isn’t your team, what are your responsibilities as an employee of your organization? </a:t>
            </a:r>
          </a:p>
          <a:p>
            <a:pPr marL="128588" indent="-128588">
              <a:buFont typeface="Arial" panose="020B0604020202020204" pitchFamily="34" charset="0"/>
              <a:buChar char="•"/>
            </a:pPr>
            <a:r>
              <a:rPr lang="en-US" sz="750" i="1" dirty="0"/>
              <a:t>Should you report, even if you are uncertain that what you’ve seen is discrimination?</a:t>
            </a:r>
          </a:p>
          <a:p>
            <a:endParaRPr lang="en-US" sz="750" i="1" dirty="0"/>
          </a:p>
        </p:txBody>
      </p:sp>
      <p:sp>
        <p:nvSpPr>
          <p:cNvPr id="17" name="Rectangle 16">
            <a:extLst>
              <a:ext uri="{FF2B5EF4-FFF2-40B4-BE49-F238E27FC236}">
                <a16:creationId xmlns:a16="http://schemas.microsoft.com/office/drawing/2014/main" id="{E4C2F4A0-58C6-49BF-9073-191505F91B75}"/>
              </a:ext>
            </a:extLst>
          </p:cNvPr>
          <p:cNvSpPr/>
          <p:nvPr/>
        </p:nvSpPr>
        <p:spPr>
          <a:xfrm>
            <a:off x="3522248" y="3951760"/>
            <a:ext cx="1988820" cy="187187"/>
          </a:xfrm>
          <a:prstGeom prst="rect">
            <a:avLst/>
          </a:prstGeom>
          <a:solidFill>
            <a:srgbClr val="E81159"/>
          </a:solidFill>
          <a:ln w="12700">
            <a:solidFill>
              <a:srgbClr val="E8115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900" b="1" dirty="0"/>
              <a:t>Discussion </a:t>
            </a:r>
          </a:p>
        </p:txBody>
      </p:sp>
      <p:sp>
        <p:nvSpPr>
          <p:cNvPr id="18" name="TextBox 17">
            <a:extLst>
              <a:ext uri="{FF2B5EF4-FFF2-40B4-BE49-F238E27FC236}">
                <a16:creationId xmlns:a16="http://schemas.microsoft.com/office/drawing/2014/main" id="{8A8A3203-B846-41E8-9B81-458D920FE153}"/>
              </a:ext>
            </a:extLst>
          </p:cNvPr>
          <p:cNvSpPr txBox="1"/>
          <p:nvPr/>
        </p:nvSpPr>
        <p:spPr>
          <a:xfrm>
            <a:off x="6300936" y="4138947"/>
            <a:ext cx="1988820" cy="946413"/>
          </a:xfrm>
          <a:prstGeom prst="rect">
            <a:avLst/>
          </a:prstGeom>
          <a:noFill/>
          <a:ln>
            <a:solidFill>
              <a:schemeClr val="tx1"/>
            </a:solidFill>
          </a:ln>
        </p:spPr>
        <p:txBody>
          <a:bodyPr wrap="square" lIns="68580" tIns="68580" bIns="68580" rtlCol="0">
            <a:spAutoFit/>
          </a:bodyPr>
          <a:lstStyle/>
          <a:p>
            <a:pPr marL="128588" indent="-128588">
              <a:buFont typeface="Arial" panose="020B0604020202020204" pitchFamily="34" charset="0"/>
              <a:buChar char="•"/>
            </a:pPr>
            <a:r>
              <a:rPr lang="en-US" sz="750" i="1" dirty="0"/>
              <a:t>Why is this lack of accommodation against your organization’s mission? </a:t>
            </a:r>
          </a:p>
          <a:p>
            <a:pPr marL="128588" indent="-128588">
              <a:buFont typeface="Arial" panose="020B0604020202020204" pitchFamily="34" charset="0"/>
              <a:buChar char="•"/>
            </a:pPr>
            <a:r>
              <a:rPr lang="en-US" sz="750" i="1" dirty="0"/>
              <a:t>What policies protect employees with disabilities at your organization? </a:t>
            </a:r>
          </a:p>
          <a:p>
            <a:pPr marL="128588" indent="-128588">
              <a:buFont typeface="Arial" panose="020B0604020202020204" pitchFamily="34" charset="0"/>
              <a:buChar char="•"/>
            </a:pPr>
            <a:r>
              <a:rPr lang="en-US" sz="750" i="1" dirty="0"/>
              <a:t>Where could you report this issue outside of your department? </a:t>
            </a:r>
          </a:p>
          <a:p>
            <a:endParaRPr lang="en-US" sz="750" i="1" dirty="0"/>
          </a:p>
        </p:txBody>
      </p:sp>
      <p:sp>
        <p:nvSpPr>
          <p:cNvPr id="19" name="Rectangle 18">
            <a:extLst>
              <a:ext uri="{FF2B5EF4-FFF2-40B4-BE49-F238E27FC236}">
                <a16:creationId xmlns:a16="http://schemas.microsoft.com/office/drawing/2014/main" id="{8B2F8A2F-2D17-4025-9297-6394EA4EDEDB}"/>
              </a:ext>
            </a:extLst>
          </p:cNvPr>
          <p:cNvSpPr/>
          <p:nvPr/>
        </p:nvSpPr>
        <p:spPr>
          <a:xfrm>
            <a:off x="6300940" y="3951760"/>
            <a:ext cx="1988820" cy="187187"/>
          </a:xfrm>
          <a:prstGeom prst="rect">
            <a:avLst/>
          </a:prstGeom>
          <a:solidFill>
            <a:srgbClr val="E81159"/>
          </a:solidFill>
          <a:ln w="12700">
            <a:solidFill>
              <a:srgbClr val="E8115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900" b="1" dirty="0"/>
              <a:t>Discussion </a:t>
            </a:r>
          </a:p>
        </p:txBody>
      </p:sp>
      <p:pic>
        <p:nvPicPr>
          <p:cNvPr id="8" name="Picture 7">
            <a:extLst>
              <a:ext uri="{FF2B5EF4-FFF2-40B4-BE49-F238E27FC236}">
                <a16:creationId xmlns:a16="http://schemas.microsoft.com/office/drawing/2014/main" id="{9714681D-F980-4308-A0A4-228075380850}"/>
              </a:ext>
            </a:extLst>
          </p:cNvPr>
          <p:cNvPicPr>
            <a:picLocks noChangeAspect="1"/>
          </p:cNvPicPr>
          <p:nvPr/>
        </p:nvPicPr>
        <p:blipFill>
          <a:blip r:embed="rId2"/>
          <a:stretch>
            <a:fillRect/>
          </a:stretch>
        </p:blipFill>
        <p:spPr>
          <a:xfrm>
            <a:off x="3527024" y="2178055"/>
            <a:ext cx="454710" cy="353663"/>
          </a:xfrm>
          <a:prstGeom prst="rect">
            <a:avLst/>
          </a:prstGeom>
        </p:spPr>
      </p:pic>
      <p:pic>
        <p:nvPicPr>
          <p:cNvPr id="9" name="Picture 8">
            <a:extLst>
              <a:ext uri="{FF2B5EF4-FFF2-40B4-BE49-F238E27FC236}">
                <a16:creationId xmlns:a16="http://schemas.microsoft.com/office/drawing/2014/main" id="{7B34BA33-C2B9-4363-966A-3E809CAAE7D8}"/>
              </a:ext>
            </a:extLst>
          </p:cNvPr>
          <p:cNvPicPr>
            <a:picLocks noChangeAspect="1"/>
          </p:cNvPicPr>
          <p:nvPr/>
        </p:nvPicPr>
        <p:blipFill>
          <a:blip r:embed="rId3"/>
          <a:stretch>
            <a:fillRect/>
          </a:stretch>
        </p:blipFill>
        <p:spPr>
          <a:xfrm>
            <a:off x="6316057" y="2160054"/>
            <a:ext cx="500999" cy="389666"/>
          </a:xfrm>
          <a:prstGeom prst="rect">
            <a:avLst/>
          </a:prstGeom>
        </p:spPr>
      </p:pic>
      <p:pic>
        <p:nvPicPr>
          <p:cNvPr id="11" name="Picture 10">
            <a:extLst>
              <a:ext uri="{FF2B5EF4-FFF2-40B4-BE49-F238E27FC236}">
                <a16:creationId xmlns:a16="http://schemas.microsoft.com/office/drawing/2014/main" id="{0303907F-E47B-4130-B69F-FB335784A05D}"/>
              </a:ext>
            </a:extLst>
          </p:cNvPr>
          <p:cNvPicPr>
            <a:picLocks noChangeAspect="1"/>
          </p:cNvPicPr>
          <p:nvPr/>
        </p:nvPicPr>
        <p:blipFill>
          <a:blip r:embed="rId4"/>
          <a:stretch>
            <a:fillRect/>
          </a:stretch>
        </p:blipFill>
        <p:spPr>
          <a:xfrm>
            <a:off x="753536" y="2150355"/>
            <a:ext cx="525941" cy="409066"/>
          </a:xfrm>
          <a:prstGeom prst="rect">
            <a:avLst/>
          </a:prstGeom>
        </p:spPr>
      </p:pic>
    </p:spTree>
    <p:extLst>
      <p:ext uri="{BB962C8B-B14F-4D97-AF65-F5344CB8AC3E}">
        <p14:creationId xmlns:p14="http://schemas.microsoft.com/office/powerpoint/2010/main" val="232507062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F4C4A9-E3EC-A044-BFA0-7D8F9235D0A6}"/>
              </a:ext>
            </a:extLst>
          </p:cNvPr>
          <p:cNvSpPr>
            <a:spLocks noGrp="1"/>
          </p:cNvSpPr>
          <p:nvPr>
            <p:ph type="title"/>
          </p:nvPr>
        </p:nvSpPr>
        <p:spPr/>
        <p:txBody>
          <a:bodyPr/>
          <a:lstStyle/>
          <a:p>
            <a:r>
              <a:rPr lang="en-US" dirty="0"/>
              <a:t>Additional Scenarios…Retaliation </a:t>
            </a:r>
          </a:p>
        </p:txBody>
      </p:sp>
      <p:sp>
        <p:nvSpPr>
          <p:cNvPr id="6" name="Rectangle 5">
            <a:extLst>
              <a:ext uri="{FF2B5EF4-FFF2-40B4-BE49-F238E27FC236}">
                <a16:creationId xmlns:a16="http://schemas.microsoft.com/office/drawing/2014/main" id="{78E16932-9B2D-4553-A220-19643B172B17}"/>
              </a:ext>
            </a:extLst>
          </p:cNvPr>
          <p:cNvSpPr/>
          <p:nvPr/>
        </p:nvSpPr>
        <p:spPr>
          <a:xfrm>
            <a:off x="743552" y="2091691"/>
            <a:ext cx="1985210" cy="520478"/>
          </a:xfrm>
          <a:prstGeom prst="rect">
            <a:avLst/>
          </a:prstGeom>
          <a:solidFill>
            <a:schemeClr val="tx2"/>
          </a:solidFill>
          <a:ln w="12700">
            <a:solidFill>
              <a:srgbClr val="6F787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900" b="1" dirty="0"/>
              <a:t>Scenario 1</a:t>
            </a:r>
          </a:p>
          <a:p>
            <a:pPr algn="ctr"/>
            <a:r>
              <a:rPr lang="en-US" sz="900" b="1" dirty="0"/>
              <a:t>“The Report” </a:t>
            </a:r>
          </a:p>
        </p:txBody>
      </p:sp>
      <p:sp>
        <p:nvSpPr>
          <p:cNvPr id="24" name="Rectangle 23">
            <a:extLst>
              <a:ext uri="{FF2B5EF4-FFF2-40B4-BE49-F238E27FC236}">
                <a16:creationId xmlns:a16="http://schemas.microsoft.com/office/drawing/2014/main" id="{A96E40DE-9019-48E9-A74A-5A1CD2AEA986}"/>
              </a:ext>
            </a:extLst>
          </p:cNvPr>
          <p:cNvSpPr/>
          <p:nvPr/>
        </p:nvSpPr>
        <p:spPr>
          <a:xfrm>
            <a:off x="3522245" y="2091689"/>
            <a:ext cx="1985210" cy="521208"/>
          </a:xfrm>
          <a:prstGeom prst="rect">
            <a:avLst/>
          </a:prstGeom>
          <a:solidFill>
            <a:schemeClr val="tx2"/>
          </a:solidFill>
          <a:ln w="12700">
            <a:solidFill>
              <a:srgbClr val="6F787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900" b="1" dirty="0"/>
              <a:t>Scenario 2</a:t>
            </a:r>
          </a:p>
          <a:p>
            <a:pPr algn="ctr"/>
            <a:r>
              <a:rPr lang="en-US" sz="900" b="1" dirty="0"/>
              <a:t>“The Move”</a:t>
            </a:r>
          </a:p>
        </p:txBody>
      </p:sp>
      <p:sp>
        <p:nvSpPr>
          <p:cNvPr id="25" name="Rectangle 24">
            <a:extLst>
              <a:ext uri="{FF2B5EF4-FFF2-40B4-BE49-F238E27FC236}">
                <a16:creationId xmlns:a16="http://schemas.microsoft.com/office/drawing/2014/main" id="{E002055C-0B58-4771-A8BB-00E2E3CD4952}"/>
              </a:ext>
            </a:extLst>
          </p:cNvPr>
          <p:cNvSpPr/>
          <p:nvPr/>
        </p:nvSpPr>
        <p:spPr>
          <a:xfrm>
            <a:off x="6300938" y="2091689"/>
            <a:ext cx="1985210" cy="521208"/>
          </a:xfrm>
          <a:prstGeom prst="rect">
            <a:avLst/>
          </a:prstGeom>
          <a:solidFill>
            <a:schemeClr val="tx2"/>
          </a:solidFill>
          <a:ln w="12700">
            <a:solidFill>
              <a:srgbClr val="6F787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900" b="1" dirty="0"/>
              <a:t>Scenario 3</a:t>
            </a:r>
          </a:p>
          <a:p>
            <a:pPr algn="ctr"/>
            <a:r>
              <a:rPr lang="en-US" sz="900" b="1" dirty="0"/>
              <a:t>“The Promotion”</a:t>
            </a:r>
          </a:p>
        </p:txBody>
      </p:sp>
      <p:pic>
        <p:nvPicPr>
          <p:cNvPr id="29" name="Picture 28">
            <a:extLst>
              <a:ext uri="{FF2B5EF4-FFF2-40B4-BE49-F238E27FC236}">
                <a16:creationId xmlns:a16="http://schemas.microsoft.com/office/drawing/2014/main" id="{42BBCD5A-3340-44B0-AE20-FCCD87662165}"/>
              </a:ext>
            </a:extLst>
          </p:cNvPr>
          <p:cNvPicPr>
            <a:picLocks noChangeAspect="1"/>
          </p:cNvPicPr>
          <p:nvPr/>
        </p:nvPicPr>
        <p:blipFill>
          <a:blip r:embed="rId2"/>
          <a:stretch>
            <a:fillRect/>
          </a:stretch>
        </p:blipFill>
        <p:spPr>
          <a:xfrm>
            <a:off x="6300936" y="2133173"/>
            <a:ext cx="562516" cy="437513"/>
          </a:xfrm>
          <a:prstGeom prst="rect">
            <a:avLst/>
          </a:prstGeom>
        </p:spPr>
      </p:pic>
      <p:sp>
        <p:nvSpPr>
          <p:cNvPr id="33" name="Freeform 21">
            <a:extLst>
              <a:ext uri="{FF2B5EF4-FFF2-40B4-BE49-F238E27FC236}">
                <a16:creationId xmlns:a16="http://schemas.microsoft.com/office/drawing/2014/main" id="{CCBAEC06-120C-4A0A-8C69-FB3579D1732B}"/>
              </a:ext>
            </a:extLst>
          </p:cNvPr>
          <p:cNvSpPr/>
          <p:nvPr/>
        </p:nvSpPr>
        <p:spPr>
          <a:xfrm>
            <a:off x="743552" y="2612169"/>
            <a:ext cx="1985210" cy="1291963"/>
          </a:xfrm>
          <a:custGeom>
            <a:avLst/>
            <a:gdLst>
              <a:gd name="connsiteX0" fmla="*/ 3175 w 2747048"/>
              <a:gd name="connsiteY0" fmla="*/ 482600 h 1504239"/>
              <a:gd name="connsiteX1" fmla="*/ 0 w 2747048"/>
              <a:gd name="connsiteY1" fmla="*/ 1376375 h 1504239"/>
              <a:gd name="connsiteX2" fmla="*/ 199238 w 2747048"/>
              <a:gd name="connsiteY2" fmla="*/ 1504239 h 1504239"/>
              <a:gd name="connsiteX3" fmla="*/ 394056 w 2747048"/>
              <a:gd name="connsiteY3" fmla="*/ 1376375 h 1504239"/>
              <a:gd name="connsiteX4" fmla="*/ 589725 w 2747048"/>
              <a:gd name="connsiteY4" fmla="*/ 1504239 h 1504239"/>
              <a:gd name="connsiteX5" fmla="*/ 785254 w 2747048"/>
              <a:gd name="connsiteY5" fmla="*/ 1376375 h 1504239"/>
              <a:gd name="connsiteX6" fmla="*/ 980466 w 2747048"/>
              <a:gd name="connsiteY6" fmla="*/ 1504239 h 1504239"/>
              <a:gd name="connsiteX7" fmla="*/ 1176833 w 2747048"/>
              <a:gd name="connsiteY7" fmla="*/ 1376375 h 1504239"/>
              <a:gd name="connsiteX8" fmla="*/ 1372439 w 2747048"/>
              <a:gd name="connsiteY8" fmla="*/ 1504239 h 1504239"/>
              <a:gd name="connsiteX9" fmla="*/ 1568425 w 2747048"/>
              <a:gd name="connsiteY9" fmla="*/ 1376375 h 1504239"/>
              <a:gd name="connsiteX10" fmla="*/ 1763433 w 2747048"/>
              <a:gd name="connsiteY10" fmla="*/ 1504239 h 1504239"/>
              <a:gd name="connsiteX11" fmla="*/ 1960398 w 2747048"/>
              <a:gd name="connsiteY11" fmla="*/ 1376375 h 1504239"/>
              <a:gd name="connsiteX12" fmla="*/ 2155406 w 2747048"/>
              <a:gd name="connsiteY12" fmla="*/ 1504239 h 1504239"/>
              <a:gd name="connsiteX13" fmla="*/ 2351393 w 2747048"/>
              <a:gd name="connsiteY13" fmla="*/ 1376375 h 1504239"/>
              <a:gd name="connsiteX14" fmla="*/ 2547379 w 2747048"/>
              <a:gd name="connsiteY14" fmla="*/ 1504239 h 1504239"/>
              <a:gd name="connsiteX15" fmla="*/ 2747048 w 2747048"/>
              <a:gd name="connsiteY15" fmla="*/ 1376375 h 1504239"/>
              <a:gd name="connsiteX16" fmla="*/ 2747048 w 2747048"/>
              <a:gd name="connsiteY16" fmla="*/ 0 h 1504239"/>
              <a:gd name="connsiteX17" fmla="*/ 3175 w 2747048"/>
              <a:gd name="connsiteY17" fmla="*/ 482600 h 1504239"/>
              <a:gd name="connsiteX0" fmla="*/ 3175 w 2747048"/>
              <a:gd name="connsiteY0" fmla="*/ 0 h 1021639"/>
              <a:gd name="connsiteX1" fmla="*/ 0 w 2747048"/>
              <a:gd name="connsiteY1" fmla="*/ 893775 h 1021639"/>
              <a:gd name="connsiteX2" fmla="*/ 199238 w 2747048"/>
              <a:gd name="connsiteY2" fmla="*/ 1021639 h 1021639"/>
              <a:gd name="connsiteX3" fmla="*/ 394056 w 2747048"/>
              <a:gd name="connsiteY3" fmla="*/ 893775 h 1021639"/>
              <a:gd name="connsiteX4" fmla="*/ 589725 w 2747048"/>
              <a:gd name="connsiteY4" fmla="*/ 1021639 h 1021639"/>
              <a:gd name="connsiteX5" fmla="*/ 785254 w 2747048"/>
              <a:gd name="connsiteY5" fmla="*/ 893775 h 1021639"/>
              <a:gd name="connsiteX6" fmla="*/ 980466 w 2747048"/>
              <a:gd name="connsiteY6" fmla="*/ 1021639 h 1021639"/>
              <a:gd name="connsiteX7" fmla="*/ 1176833 w 2747048"/>
              <a:gd name="connsiteY7" fmla="*/ 893775 h 1021639"/>
              <a:gd name="connsiteX8" fmla="*/ 1372439 w 2747048"/>
              <a:gd name="connsiteY8" fmla="*/ 1021639 h 1021639"/>
              <a:gd name="connsiteX9" fmla="*/ 1568425 w 2747048"/>
              <a:gd name="connsiteY9" fmla="*/ 893775 h 1021639"/>
              <a:gd name="connsiteX10" fmla="*/ 1763433 w 2747048"/>
              <a:gd name="connsiteY10" fmla="*/ 1021639 h 1021639"/>
              <a:gd name="connsiteX11" fmla="*/ 1960398 w 2747048"/>
              <a:gd name="connsiteY11" fmla="*/ 893775 h 1021639"/>
              <a:gd name="connsiteX12" fmla="*/ 2155406 w 2747048"/>
              <a:gd name="connsiteY12" fmla="*/ 1021639 h 1021639"/>
              <a:gd name="connsiteX13" fmla="*/ 2351393 w 2747048"/>
              <a:gd name="connsiteY13" fmla="*/ 893775 h 1021639"/>
              <a:gd name="connsiteX14" fmla="*/ 2547379 w 2747048"/>
              <a:gd name="connsiteY14" fmla="*/ 1021639 h 1021639"/>
              <a:gd name="connsiteX15" fmla="*/ 2747048 w 2747048"/>
              <a:gd name="connsiteY15" fmla="*/ 893775 h 1021639"/>
              <a:gd name="connsiteX16" fmla="*/ 2743873 w 2747048"/>
              <a:gd name="connsiteY16" fmla="*/ 0 h 1021639"/>
              <a:gd name="connsiteX17" fmla="*/ 3175 w 2747048"/>
              <a:gd name="connsiteY17" fmla="*/ 0 h 1021639"/>
              <a:gd name="connsiteX0" fmla="*/ 3175 w 2747048"/>
              <a:gd name="connsiteY0" fmla="*/ 51881 h 1021639"/>
              <a:gd name="connsiteX1" fmla="*/ 0 w 2747048"/>
              <a:gd name="connsiteY1" fmla="*/ 893775 h 1021639"/>
              <a:gd name="connsiteX2" fmla="*/ 199238 w 2747048"/>
              <a:gd name="connsiteY2" fmla="*/ 1021639 h 1021639"/>
              <a:gd name="connsiteX3" fmla="*/ 394056 w 2747048"/>
              <a:gd name="connsiteY3" fmla="*/ 893775 h 1021639"/>
              <a:gd name="connsiteX4" fmla="*/ 589725 w 2747048"/>
              <a:gd name="connsiteY4" fmla="*/ 1021639 h 1021639"/>
              <a:gd name="connsiteX5" fmla="*/ 785254 w 2747048"/>
              <a:gd name="connsiteY5" fmla="*/ 893775 h 1021639"/>
              <a:gd name="connsiteX6" fmla="*/ 980466 w 2747048"/>
              <a:gd name="connsiteY6" fmla="*/ 1021639 h 1021639"/>
              <a:gd name="connsiteX7" fmla="*/ 1176833 w 2747048"/>
              <a:gd name="connsiteY7" fmla="*/ 893775 h 1021639"/>
              <a:gd name="connsiteX8" fmla="*/ 1372439 w 2747048"/>
              <a:gd name="connsiteY8" fmla="*/ 1021639 h 1021639"/>
              <a:gd name="connsiteX9" fmla="*/ 1568425 w 2747048"/>
              <a:gd name="connsiteY9" fmla="*/ 893775 h 1021639"/>
              <a:gd name="connsiteX10" fmla="*/ 1763433 w 2747048"/>
              <a:gd name="connsiteY10" fmla="*/ 1021639 h 1021639"/>
              <a:gd name="connsiteX11" fmla="*/ 1960398 w 2747048"/>
              <a:gd name="connsiteY11" fmla="*/ 893775 h 1021639"/>
              <a:gd name="connsiteX12" fmla="*/ 2155406 w 2747048"/>
              <a:gd name="connsiteY12" fmla="*/ 1021639 h 1021639"/>
              <a:gd name="connsiteX13" fmla="*/ 2351393 w 2747048"/>
              <a:gd name="connsiteY13" fmla="*/ 893775 h 1021639"/>
              <a:gd name="connsiteX14" fmla="*/ 2547379 w 2747048"/>
              <a:gd name="connsiteY14" fmla="*/ 1021639 h 1021639"/>
              <a:gd name="connsiteX15" fmla="*/ 2747048 w 2747048"/>
              <a:gd name="connsiteY15" fmla="*/ 893775 h 1021639"/>
              <a:gd name="connsiteX16" fmla="*/ 2743873 w 2747048"/>
              <a:gd name="connsiteY16" fmla="*/ 0 h 1021639"/>
              <a:gd name="connsiteX17" fmla="*/ 3175 w 2747048"/>
              <a:gd name="connsiteY17" fmla="*/ 51881 h 1021639"/>
              <a:gd name="connsiteX0" fmla="*/ 3175 w 2747048"/>
              <a:gd name="connsiteY0" fmla="*/ 0 h 969758"/>
              <a:gd name="connsiteX1" fmla="*/ 0 w 2747048"/>
              <a:gd name="connsiteY1" fmla="*/ 841894 h 969758"/>
              <a:gd name="connsiteX2" fmla="*/ 199238 w 2747048"/>
              <a:gd name="connsiteY2" fmla="*/ 969758 h 969758"/>
              <a:gd name="connsiteX3" fmla="*/ 394056 w 2747048"/>
              <a:gd name="connsiteY3" fmla="*/ 841894 h 969758"/>
              <a:gd name="connsiteX4" fmla="*/ 589725 w 2747048"/>
              <a:gd name="connsiteY4" fmla="*/ 969758 h 969758"/>
              <a:gd name="connsiteX5" fmla="*/ 785254 w 2747048"/>
              <a:gd name="connsiteY5" fmla="*/ 841894 h 969758"/>
              <a:gd name="connsiteX6" fmla="*/ 980466 w 2747048"/>
              <a:gd name="connsiteY6" fmla="*/ 969758 h 969758"/>
              <a:gd name="connsiteX7" fmla="*/ 1176833 w 2747048"/>
              <a:gd name="connsiteY7" fmla="*/ 841894 h 969758"/>
              <a:gd name="connsiteX8" fmla="*/ 1372439 w 2747048"/>
              <a:gd name="connsiteY8" fmla="*/ 969758 h 969758"/>
              <a:gd name="connsiteX9" fmla="*/ 1568425 w 2747048"/>
              <a:gd name="connsiteY9" fmla="*/ 841894 h 969758"/>
              <a:gd name="connsiteX10" fmla="*/ 1763433 w 2747048"/>
              <a:gd name="connsiteY10" fmla="*/ 969758 h 969758"/>
              <a:gd name="connsiteX11" fmla="*/ 1960398 w 2747048"/>
              <a:gd name="connsiteY11" fmla="*/ 841894 h 969758"/>
              <a:gd name="connsiteX12" fmla="*/ 2155406 w 2747048"/>
              <a:gd name="connsiteY12" fmla="*/ 969758 h 969758"/>
              <a:gd name="connsiteX13" fmla="*/ 2351393 w 2747048"/>
              <a:gd name="connsiteY13" fmla="*/ 841894 h 969758"/>
              <a:gd name="connsiteX14" fmla="*/ 2547379 w 2747048"/>
              <a:gd name="connsiteY14" fmla="*/ 969758 h 969758"/>
              <a:gd name="connsiteX15" fmla="*/ 2747048 w 2747048"/>
              <a:gd name="connsiteY15" fmla="*/ 841894 h 969758"/>
              <a:gd name="connsiteX16" fmla="*/ 2743873 w 2747048"/>
              <a:gd name="connsiteY16" fmla="*/ 0 h 969758"/>
              <a:gd name="connsiteX17" fmla="*/ 3175 w 2747048"/>
              <a:gd name="connsiteY17" fmla="*/ 0 h 969758"/>
              <a:gd name="connsiteX0" fmla="*/ 297 w 2747412"/>
              <a:gd name="connsiteY0" fmla="*/ 3243 h 969758"/>
              <a:gd name="connsiteX1" fmla="*/ 364 w 2747412"/>
              <a:gd name="connsiteY1" fmla="*/ 841894 h 969758"/>
              <a:gd name="connsiteX2" fmla="*/ 199602 w 2747412"/>
              <a:gd name="connsiteY2" fmla="*/ 969758 h 969758"/>
              <a:gd name="connsiteX3" fmla="*/ 394420 w 2747412"/>
              <a:gd name="connsiteY3" fmla="*/ 841894 h 969758"/>
              <a:gd name="connsiteX4" fmla="*/ 590089 w 2747412"/>
              <a:gd name="connsiteY4" fmla="*/ 969758 h 969758"/>
              <a:gd name="connsiteX5" fmla="*/ 785618 w 2747412"/>
              <a:gd name="connsiteY5" fmla="*/ 841894 h 969758"/>
              <a:gd name="connsiteX6" fmla="*/ 980830 w 2747412"/>
              <a:gd name="connsiteY6" fmla="*/ 969758 h 969758"/>
              <a:gd name="connsiteX7" fmla="*/ 1177197 w 2747412"/>
              <a:gd name="connsiteY7" fmla="*/ 841894 h 969758"/>
              <a:gd name="connsiteX8" fmla="*/ 1372803 w 2747412"/>
              <a:gd name="connsiteY8" fmla="*/ 969758 h 969758"/>
              <a:gd name="connsiteX9" fmla="*/ 1568789 w 2747412"/>
              <a:gd name="connsiteY9" fmla="*/ 841894 h 969758"/>
              <a:gd name="connsiteX10" fmla="*/ 1763797 w 2747412"/>
              <a:gd name="connsiteY10" fmla="*/ 969758 h 969758"/>
              <a:gd name="connsiteX11" fmla="*/ 1960762 w 2747412"/>
              <a:gd name="connsiteY11" fmla="*/ 841894 h 969758"/>
              <a:gd name="connsiteX12" fmla="*/ 2155770 w 2747412"/>
              <a:gd name="connsiteY12" fmla="*/ 969758 h 969758"/>
              <a:gd name="connsiteX13" fmla="*/ 2351757 w 2747412"/>
              <a:gd name="connsiteY13" fmla="*/ 841894 h 969758"/>
              <a:gd name="connsiteX14" fmla="*/ 2547743 w 2747412"/>
              <a:gd name="connsiteY14" fmla="*/ 969758 h 969758"/>
              <a:gd name="connsiteX15" fmla="*/ 2747412 w 2747412"/>
              <a:gd name="connsiteY15" fmla="*/ 841894 h 969758"/>
              <a:gd name="connsiteX16" fmla="*/ 2744237 w 2747412"/>
              <a:gd name="connsiteY16" fmla="*/ 0 h 969758"/>
              <a:gd name="connsiteX17" fmla="*/ 297 w 2747412"/>
              <a:gd name="connsiteY17" fmla="*/ 3243 h 969758"/>
              <a:gd name="connsiteX0" fmla="*/ 297 w 2747412"/>
              <a:gd name="connsiteY0" fmla="*/ 0 h 973000"/>
              <a:gd name="connsiteX1" fmla="*/ 364 w 2747412"/>
              <a:gd name="connsiteY1" fmla="*/ 845136 h 973000"/>
              <a:gd name="connsiteX2" fmla="*/ 199602 w 2747412"/>
              <a:gd name="connsiteY2" fmla="*/ 973000 h 973000"/>
              <a:gd name="connsiteX3" fmla="*/ 394420 w 2747412"/>
              <a:gd name="connsiteY3" fmla="*/ 845136 h 973000"/>
              <a:gd name="connsiteX4" fmla="*/ 590089 w 2747412"/>
              <a:gd name="connsiteY4" fmla="*/ 973000 h 973000"/>
              <a:gd name="connsiteX5" fmla="*/ 785618 w 2747412"/>
              <a:gd name="connsiteY5" fmla="*/ 845136 h 973000"/>
              <a:gd name="connsiteX6" fmla="*/ 980830 w 2747412"/>
              <a:gd name="connsiteY6" fmla="*/ 973000 h 973000"/>
              <a:gd name="connsiteX7" fmla="*/ 1177197 w 2747412"/>
              <a:gd name="connsiteY7" fmla="*/ 845136 h 973000"/>
              <a:gd name="connsiteX8" fmla="*/ 1372803 w 2747412"/>
              <a:gd name="connsiteY8" fmla="*/ 973000 h 973000"/>
              <a:gd name="connsiteX9" fmla="*/ 1568789 w 2747412"/>
              <a:gd name="connsiteY9" fmla="*/ 845136 h 973000"/>
              <a:gd name="connsiteX10" fmla="*/ 1763797 w 2747412"/>
              <a:gd name="connsiteY10" fmla="*/ 973000 h 973000"/>
              <a:gd name="connsiteX11" fmla="*/ 1960762 w 2747412"/>
              <a:gd name="connsiteY11" fmla="*/ 845136 h 973000"/>
              <a:gd name="connsiteX12" fmla="*/ 2155770 w 2747412"/>
              <a:gd name="connsiteY12" fmla="*/ 973000 h 973000"/>
              <a:gd name="connsiteX13" fmla="*/ 2351757 w 2747412"/>
              <a:gd name="connsiteY13" fmla="*/ 845136 h 973000"/>
              <a:gd name="connsiteX14" fmla="*/ 2547743 w 2747412"/>
              <a:gd name="connsiteY14" fmla="*/ 973000 h 973000"/>
              <a:gd name="connsiteX15" fmla="*/ 2747412 w 2747412"/>
              <a:gd name="connsiteY15" fmla="*/ 845136 h 973000"/>
              <a:gd name="connsiteX16" fmla="*/ 2744237 w 2747412"/>
              <a:gd name="connsiteY16" fmla="*/ 3242 h 973000"/>
              <a:gd name="connsiteX17" fmla="*/ 297 w 2747412"/>
              <a:gd name="connsiteY17" fmla="*/ 0 h 973000"/>
              <a:gd name="connsiteX0" fmla="*/ 3175 w 2747048"/>
              <a:gd name="connsiteY0" fmla="*/ 0 h 973000"/>
              <a:gd name="connsiteX1" fmla="*/ 0 w 2747048"/>
              <a:gd name="connsiteY1" fmla="*/ 845136 h 973000"/>
              <a:gd name="connsiteX2" fmla="*/ 199238 w 2747048"/>
              <a:gd name="connsiteY2" fmla="*/ 973000 h 973000"/>
              <a:gd name="connsiteX3" fmla="*/ 394056 w 2747048"/>
              <a:gd name="connsiteY3" fmla="*/ 845136 h 973000"/>
              <a:gd name="connsiteX4" fmla="*/ 589725 w 2747048"/>
              <a:gd name="connsiteY4" fmla="*/ 973000 h 973000"/>
              <a:gd name="connsiteX5" fmla="*/ 785254 w 2747048"/>
              <a:gd name="connsiteY5" fmla="*/ 845136 h 973000"/>
              <a:gd name="connsiteX6" fmla="*/ 980466 w 2747048"/>
              <a:gd name="connsiteY6" fmla="*/ 973000 h 973000"/>
              <a:gd name="connsiteX7" fmla="*/ 1176833 w 2747048"/>
              <a:gd name="connsiteY7" fmla="*/ 845136 h 973000"/>
              <a:gd name="connsiteX8" fmla="*/ 1372439 w 2747048"/>
              <a:gd name="connsiteY8" fmla="*/ 973000 h 973000"/>
              <a:gd name="connsiteX9" fmla="*/ 1568425 w 2747048"/>
              <a:gd name="connsiteY9" fmla="*/ 845136 h 973000"/>
              <a:gd name="connsiteX10" fmla="*/ 1763433 w 2747048"/>
              <a:gd name="connsiteY10" fmla="*/ 973000 h 973000"/>
              <a:gd name="connsiteX11" fmla="*/ 1960398 w 2747048"/>
              <a:gd name="connsiteY11" fmla="*/ 845136 h 973000"/>
              <a:gd name="connsiteX12" fmla="*/ 2155406 w 2747048"/>
              <a:gd name="connsiteY12" fmla="*/ 973000 h 973000"/>
              <a:gd name="connsiteX13" fmla="*/ 2351393 w 2747048"/>
              <a:gd name="connsiteY13" fmla="*/ 845136 h 973000"/>
              <a:gd name="connsiteX14" fmla="*/ 2547379 w 2747048"/>
              <a:gd name="connsiteY14" fmla="*/ 973000 h 973000"/>
              <a:gd name="connsiteX15" fmla="*/ 2747048 w 2747048"/>
              <a:gd name="connsiteY15" fmla="*/ 845136 h 973000"/>
              <a:gd name="connsiteX16" fmla="*/ 2743873 w 2747048"/>
              <a:gd name="connsiteY16" fmla="*/ 3242 h 973000"/>
              <a:gd name="connsiteX17" fmla="*/ 3175 w 2747048"/>
              <a:gd name="connsiteY17" fmla="*/ 0 h 973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747048" h="973000">
                <a:moveTo>
                  <a:pt x="3175" y="0"/>
                </a:moveTo>
                <a:cubicBezTo>
                  <a:pt x="2117" y="297925"/>
                  <a:pt x="1058" y="547211"/>
                  <a:pt x="0" y="845136"/>
                </a:cubicBezTo>
                <a:lnTo>
                  <a:pt x="199238" y="973000"/>
                </a:lnTo>
                <a:lnTo>
                  <a:pt x="394056" y="845136"/>
                </a:lnTo>
                <a:lnTo>
                  <a:pt x="589725" y="973000"/>
                </a:lnTo>
                <a:lnTo>
                  <a:pt x="785254" y="845136"/>
                </a:lnTo>
                <a:lnTo>
                  <a:pt x="980466" y="973000"/>
                </a:lnTo>
                <a:lnTo>
                  <a:pt x="1176833" y="845136"/>
                </a:lnTo>
                <a:lnTo>
                  <a:pt x="1372439" y="973000"/>
                </a:lnTo>
                <a:lnTo>
                  <a:pt x="1568425" y="845136"/>
                </a:lnTo>
                <a:lnTo>
                  <a:pt x="1763433" y="973000"/>
                </a:lnTo>
                <a:lnTo>
                  <a:pt x="1960398" y="845136"/>
                </a:lnTo>
                <a:lnTo>
                  <a:pt x="2155406" y="973000"/>
                </a:lnTo>
                <a:lnTo>
                  <a:pt x="2351393" y="845136"/>
                </a:lnTo>
                <a:lnTo>
                  <a:pt x="2547379" y="973000"/>
                </a:lnTo>
                <a:lnTo>
                  <a:pt x="2747048" y="845136"/>
                </a:lnTo>
                <a:cubicBezTo>
                  <a:pt x="2745990" y="547211"/>
                  <a:pt x="2744931" y="301167"/>
                  <a:pt x="2743873" y="3242"/>
                </a:cubicBezTo>
                <a:lnTo>
                  <a:pt x="3175" y="0"/>
                </a:lnTo>
                <a:close/>
              </a:path>
            </a:pathLst>
          </a:custGeom>
          <a:solidFill>
            <a:srgbClr val="FEFFFE"/>
          </a:solidFill>
          <a:ln w="12700">
            <a:solidFill>
              <a:srgbClr val="6F7878"/>
            </a:solidFill>
          </a:ln>
        </p:spPr>
        <p:txBody>
          <a:bodyPr/>
          <a:lstStyle/>
          <a:p>
            <a:r>
              <a:rPr lang="en-US" sz="750" dirty="0"/>
              <a:t>You believe your division’s purchasing manager gave preferential consideration to new trade partners selected for division projects. You told the director of operations and he said he would investigate. You haven’t heard anything in three months despite your requests for updates. </a:t>
            </a:r>
            <a:r>
              <a:rPr lang="en-US" sz="750" b="1" dirty="0"/>
              <a:t>You’re afraid you might lose your job if you further report the problem. </a:t>
            </a:r>
          </a:p>
        </p:txBody>
      </p:sp>
      <p:sp>
        <p:nvSpPr>
          <p:cNvPr id="41" name="TextBox 40">
            <a:extLst>
              <a:ext uri="{FF2B5EF4-FFF2-40B4-BE49-F238E27FC236}">
                <a16:creationId xmlns:a16="http://schemas.microsoft.com/office/drawing/2014/main" id="{9D6A0CF4-2957-4A48-9608-4D1FAB2D67F0}"/>
              </a:ext>
            </a:extLst>
          </p:cNvPr>
          <p:cNvSpPr txBox="1"/>
          <p:nvPr/>
        </p:nvSpPr>
        <p:spPr>
          <a:xfrm>
            <a:off x="743548" y="4138947"/>
            <a:ext cx="1988820" cy="830997"/>
          </a:xfrm>
          <a:prstGeom prst="rect">
            <a:avLst/>
          </a:prstGeom>
          <a:noFill/>
          <a:ln>
            <a:solidFill>
              <a:schemeClr val="tx1"/>
            </a:solidFill>
          </a:ln>
        </p:spPr>
        <p:txBody>
          <a:bodyPr wrap="square" lIns="68580" tIns="68580" bIns="68580" rtlCol="0">
            <a:spAutoFit/>
          </a:bodyPr>
          <a:lstStyle/>
          <a:p>
            <a:pPr marL="128588" indent="-128588">
              <a:buFont typeface="Arial" panose="020B0604020202020204" pitchFamily="34" charset="0"/>
              <a:buChar char="•"/>
            </a:pPr>
            <a:r>
              <a:rPr lang="en-US" sz="750" i="1" dirty="0"/>
              <a:t>What is your organization’s anti-retaliation policy as outlined by their Code of Conduct?</a:t>
            </a:r>
          </a:p>
          <a:p>
            <a:pPr marL="128588" indent="-128588">
              <a:buFont typeface="Arial" panose="020B0604020202020204" pitchFamily="34" charset="0"/>
              <a:buChar char="•"/>
            </a:pPr>
            <a:r>
              <a:rPr lang="en-US" sz="750" i="1" dirty="0"/>
              <a:t>What are other avenues for reporting misconduct at your organization outside of your manager? </a:t>
            </a:r>
          </a:p>
          <a:p>
            <a:pPr marL="128588" indent="-128588">
              <a:buFont typeface="Arial" panose="020B0604020202020204" pitchFamily="34" charset="0"/>
              <a:buChar char="•"/>
            </a:pPr>
            <a:r>
              <a:rPr lang="en-US" sz="750" i="1" dirty="0"/>
              <a:t>How could you escalate this report? </a:t>
            </a:r>
          </a:p>
        </p:txBody>
      </p:sp>
      <p:sp>
        <p:nvSpPr>
          <p:cNvPr id="42" name="Rectangle 41">
            <a:extLst>
              <a:ext uri="{FF2B5EF4-FFF2-40B4-BE49-F238E27FC236}">
                <a16:creationId xmlns:a16="http://schemas.microsoft.com/office/drawing/2014/main" id="{D71635F5-324D-42F7-BE89-192EE74A5D63}"/>
              </a:ext>
            </a:extLst>
          </p:cNvPr>
          <p:cNvSpPr/>
          <p:nvPr/>
        </p:nvSpPr>
        <p:spPr>
          <a:xfrm>
            <a:off x="743552" y="3951760"/>
            <a:ext cx="1988820" cy="187187"/>
          </a:xfrm>
          <a:prstGeom prst="rect">
            <a:avLst/>
          </a:prstGeom>
          <a:solidFill>
            <a:srgbClr val="E81159"/>
          </a:solidFill>
          <a:ln w="12700">
            <a:solidFill>
              <a:srgbClr val="E8115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900" b="1" dirty="0"/>
              <a:t>Discussion </a:t>
            </a:r>
          </a:p>
        </p:txBody>
      </p:sp>
      <p:sp>
        <p:nvSpPr>
          <p:cNvPr id="14" name="Freeform 21">
            <a:extLst>
              <a:ext uri="{FF2B5EF4-FFF2-40B4-BE49-F238E27FC236}">
                <a16:creationId xmlns:a16="http://schemas.microsoft.com/office/drawing/2014/main" id="{7B414B28-097E-41A5-BC8D-45DF0547DA1D}"/>
              </a:ext>
            </a:extLst>
          </p:cNvPr>
          <p:cNvSpPr/>
          <p:nvPr/>
        </p:nvSpPr>
        <p:spPr>
          <a:xfrm>
            <a:off x="3522244" y="2612169"/>
            <a:ext cx="1985210" cy="1291963"/>
          </a:xfrm>
          <a:custGeom>
            <a:avLst/>
            <a:gdLst>
              <a:gd name="connsiteX0" fmla="*/ 3175 w 2747048"/>
              <a:gd name="connsiteY0" fmla="*/ 482600 h 1504239"/>
              <a:gd name="connsiteX1" fmla="*/ 0 w 2747048"/>
              <a:gd name="connsiteY1" fmla="*/ 1376375 h 1504239"/>
              <a:gd name="connsiteX2" fmla="*/ 199238 w 2747048"/>
              <a:gd name="connsiteY2" fmla="*/ 1504239 h 1504239"/>
              <a:gd name="connsiteX3" fmla="*/ 394056 w 2747048"/>
              <a:gd name="connsiteY3" fmla="*/ 1376375 h 1504239"/>
              <a:gd name="connsiteX4" fmla="*/ 589725 w 2747048"/>
              <a:gd name="connsiteY4" fmla="*/ 1504239 h 1504239"/>
              <a:gd name="connsiteX5" fmla="*/ 785254 w 2747048"/>
              <a:gd name="connsiteY5" fmla="*/ 1376375 h 1504239"/>
              <a:gd name="connsiteX6" fmla="*/ 980466 w 2747048"/>
              <a:gd name="connsiteY6" fmla="*/ 1504239 h 1504239"/>
              <a:gd name="connsiteX7" fmla="*/ 1176833 w 2747048"/>
              <a:gd name="connsiteY7" fmla="*/ 1376375 h 1504239"/>
              <a:gd name="connsiteX8" fmla="*/ 1372439 w 2747048"/>
              <a:gd name="connsiteY8" fmla="*/ 1504239 h 1504239"/>
              <a:gd name="connsiteX9" fmla="*/ 1568425 w 2747048"/>
              <a:gd name="connsiteY9" fmla="*/ 1376375 h 1504239"/>
              <a:gd name="connsiteX10" fmla="*/ 1763433 w 2747048"/>
              <a:gd name="connsiteY10" fmla="*/ 1504239 h 1504239"/>
              <a:gd name="connsiteX11" fmla="*/ 1960398 w 2747048"/>
              <a:gd name="connsiteY11" fmla="*/ 1376375 h 1504239"/>
              <a:gd name="connsiteX12" fmla="*/ 2155406 w 2747048"/>
              <a:gd name="connsiteY12" fmla="*/ 1504239 h 1504239"/>
              <a:gd name="connsiteX13" fmla="*/ 2351393 w 2747048"/>
              <a:gd name="connsiteY13" fmla="*/ 1376375 h 1504239"/>
              <a:gd name="connsiteX14" fmla="*/ 2547379 w 2747048"/>
              <a:gd name="connsiteY14" fmla="*/ 1504239 h 1504239"/>
              <a:gd name="connsiteX15" fmla="*/ 2747048 w 2747048"/>
              <a:gd name="connsiteY15" fmla="*/ 1376375 h 1504239"/>
              <a:gd name="connsiteX16" fmla="*/ 2747048 w 2747048"/>
              <a:gd name="connsiteY16" fmla="*/ 0 h 1504239"/>
              <a:gd name="connsiteX17" fmla="*/ 3175 w 2747048"/>
              <a:gd name="connsiteY17" fmla="*/ 482600 h 1504239"/>
              <a:gd name="connsiteX0" fmla="*/ 3175 w 2747048"/>
              <a:gd name="connsiteY0" fmla="*/ 0 h 1021639"/>
              <a:gd name="connsiteX1" fmla="*/ 0 w 2747048"/>
              <a:gd name="connsiteY1" fmla="*/ 893775 h 1021639"/>
              <a:gd name="connsiteX2" fmla="*/ 199238 w 2747048"/>
              <a:gd name="connsiteY2" fmla="*/ 1021639 h 1021639"/>
              <a:gd name="connsiteX3" fmla="*/ 394056 w 2747048"/>
              <a:gd name="connsiteY3" fmla="*/ 893775 h 1021639"/>
              <a:gd name="connsiteX4" fmla="*/ 589725 w 2747048"/>
              <a:gd name="connsiteY4" fmla="*/ 1021639 h 1021639"/>
              <a:gd name="connsiteX5" fmla="*/ 785254 w 2747048"/>
              <a:gd name="connsiteY5" fmla="*/ 893775 h 1021639"/>
              <a:gd name="connsiteX6" fmla="*/ 980466 w 2747048"/>
              <a:gd name="connsiteY6" fmla="*/ 1021639 h 1021639"/>
              <a:gd name="connsiteX7" fmla="*/ 1176833 w 2747048"/>
              <a:gd name="connsiteY7" fmla="*/ 893775 h 1021639"/>
              <a:gd name="connsiteX8" fmla="*/ 1372439 w 2747048"/>
              <a:gd name="connsiteY8" fmla="*/ 1021639 h 1021639"/>
              <a:gd name="connsiteX9" fmla="*/ 1568425 w 2747048"/>
              <a:gd name="connsiteY9" fmla="*/ 893775 h 1021639"/>
              <a:gd name="connsiteX10" fmla="*/ 1763433 w 2747048"/>
              <a:gd name="connsiteY10" fmla="*/ 1021639 h 1021639"/>
              <a:gd name="connsiteX11" fmla="*/ 1960398 w 2747048"/>
              <a:gd name="connsiteY11" fmla="*/ 893775 h 1021639"/>
              <a:gd name="connsiteX12" fmla="*/ 2155406 w 2747048"/>
              <a:gd name="connsiteY12" fmla="*/ 1021639 h 1021639"/>
              <a:gd name="connsiteX13" fmla="*/ 2351393 w 2747048"/>
              <a:gd name="connsiteY13" fmla="*/ 893775 h 1021639"/>
              <a:gd name="connsiteX14" fmla="*/ 2547379 w 2747048"/>
              <a:gd name="connsiteY14" fmla="*/ 1021639 h 1021639"/>
              <a:gd name="connsiteX15" fmla="*/ 2747048 w 2747048"/>
              <a:gd name="connsiteY15" fmla="*/ 893775 h 1021639"/>
              <a:gd name="connsiteX16" fmla="*/ 2743873 w 2747048"/>
              <a:gd name="connsiteY16" fmla="*/ 0 h 1021639"/>
              <a:gd name="connsiteX17" fmla="*/ 3175 w 2747048"/>
              <a:gd name="connsiteY17" fmla="*/ 0 h 1021639"/>
              <a:gd name="connsiteX0" fmla="*/ 3175 w 2747048"/>
              <a:gd name="connsiteY0" fmla="*/ 51881 h 1021639"/>
              <a:gd name="connsiteX1" fmla="*/ 0 w 2747048"/>
              <a:gd name="connsiteY1" fmla="*/ 893775 h 1021639"/>
              <a:gd name="connsiteX2" fmla="*/ 199238 w 2747048"/>
              <a:gd name="connsiteY2" fmla="*/ 1021639 h 1021639"/>
              <a:gd name="connsiteX3" fmla="*/ 394056 w 2747048"/>
              <a:gd name="connsiteY3" fmla="*/ 893775 h 1021639"/>
              <a:gd name="connsiteX4" fmla="*/ 589725 w 2747048"/>
              <a:gd name="connsiteY4" fmla="*/ 1021639 h 1021639"/>
              <a:gd name="connsiteX5" fmla="*/ 785254 w 2747048"/>
              <a:gd name="connsiteY5" fmla="*/ 893775 h 1021639"/>
              <a:gd name="connsiteX6" fmla="*/ 980466 w 2747048"/>
              <a:gd name="connsiteY6" fmla="*/ 1021639 h 1021639"/>
              <a:gd name="connsiteX7" fmla="*/ 1176833 w 2747048"/>
              <a:gd name="connsiteY7" fmla="*/ 893775 h 1021639"/>
              <a:gd name="connsiteX8" fmla="*/ 1372439 w 2747048"/>
              <a:gd name="connsiteY8" fmla="*/ 1021639 h 1021639"/>
              <a:gd name="connsiteX9" fmla="*/ 1568425 w 2747048"/>
              <a:gd name="connsiteY9" fmla="*/ 893775 h 1021639"/>
              <a:gd name="connsiteX10" fmla="*/ 1763433 w 2747048"/>
              <a:gd name="connsiteY10" fmla="*/ 1021639 h 1021639"/>
              <a:gd name="connsiteX11" fmla="*/ 1960398 w 2747048"/>
              <a:gd name="connsiteY11" fmla="*/ 893775 h 1021639"/>
              <a:gd name="connsiteX12" fmla="*/ 2155406 w 2747048"/>
              <a:gd name="connsiteY12" fmla="*/ 1021639 h 1021639"/>
              <a:gd name="connsiteX13" fmla="*/ 2351393 w 2747048"/>
              <a:gd name="connsiteY13" fmla="*/ 893775 h 1021639"/>
              <a:gd name="connsiteX14" fmla="*/ 2547379 w 2747048"/>
              <a:gd name="connsiteY14" fmla="*/ 1021639 h 1021639"/>
              <a:gd name="connsiteX15" fmla="*/ 2747048 w 2747048"/>
              <a:gd name="connsiteY15" fmla="*/ 893775 h 1021639"/>
              <a:gd name="connsiteX16" fmla="*/ 2743873 w 2747048"/>
              <a:gd name="connsiteY16" fmla="*/ 0 h 1021639"/>
              <a:gd name="connsiteX17" fmla="*/ 3175 w 2747048"/>
              <a:gd name="connsiteY17" fmla="*/ 51881 h 1021639"/>
              <a:gd name="connsiteX0" fmla="*/ 3175 w 2747048"/>
              <a:gd name="connsiteY0" fmla="*/ 0 h 969758"/>
              <a:gd name="connsiteX1" fmla="*/ 0 w 2747048"/>
              <a:gd name="connsiteY1" fmla="*/ 841894 h 969758"/>
              <a:gd name="connsiteX2" fmla="*/ 199238 w 2747048"/>
              <a:gd name="connsiteY2" fmla="*/ 969758 h 969758"/>
              <a:gd name="connsiteX3" fmla="*/ 394056 w 2747048"/>
              <a:gd name="connsiteY3" fmla="*/ 841894 h 969758"/>
              <a:gd name="connsiteX4" fmla="*/ 589725 w 2747048"/>
              <a:gd name="connsiteY4" fmla="*/ 969758 h 969758"/>
              <a:gd name="connsiteX5" fmla="*/ 785254 w 2747048"/>
              <a:gd name="connsiteY5" fmla="*/ 841894 h 969758"/>
              <a:gd name="connsiteX6" fmla="*/ 980466 w 2747048"/>
              <a:gd name="connsiteY6" fmla="*/ 969758 h 969758"/>
              <a:gd name="connsiteX7" fmla="*/ 1176833 w 2747048"/>
              <a:gd name="connsiteY7" fmla="*/ 841894 h 969758"/>
              <a:gd name="connsiteX8" fmla="*/ 1372439 w 2747048"/>
              <a:gd name="connsiteY8" fmla="*/ 969758 h 969758"/>
              <a:gd name="connsiteX9" fmla="*/ 1568425 w 2747048"/>
              <a:gd name="connsiteY9" fmla="*/ 841894 h 969758"/>
              <a:gd name="connsiteX10" fmla="*/ 1763433 w 2747048"/>
              <a:gd name="connsiteY10" fmla="*/ 969758 h 969758"/>
              <a:gd name="connsiteX11" fmla="*/ 1960398 w 2747048"/>
              <a:gd name="connsiteY11" fmla="*/ 841894 h 969758"/>
              <a:gd name="connsiteX12" fmla="*/ 2155406 w 2747048"/>
              <a:gd name="connsiteY12" fmla="*/ 969758 h 969758"/>
              <a:gd name="connsiteX13" fmla="*/ 2351393 w 2747048"/>
              <a:gd name="connsiteY13" fmla="*/ 841894 h 969758"/>
              <a:gd name="connsiteX14" fmla="*/ 2547379 w 2747048"/>
              <a:gd name="connsiteY14" fmla="*/ 969758 h 969758"/>
              <a:gd name="connsiteX15" fmla="*/ 2747048 w 2747048"/>
              <a:gd name="connsiteY15" fmla="*/ 841894 h 969758"/>
              <a:gd name="connsiteX16" fmla="*/ 2743873 w 2747048"/>
              <a:gd name="connsiteY16" fmla="*/ 0 h 969758"/>
              <a:gd name="connsiteX17" fmla="*/ 3175 w 2747048"/>
              <a:gd name="connsiteY17" fmla="*/ 0 h 969758"/>
              <a:gd name="connsiteX0" fmla="*/ 297 w 2747412"/>
              <a:gd name="connsiteY0" fmla="*/ 3243 h 969758"/>
              <a:gd name="connsiteX1" fmla="*/ 364 w 2747412"/>
              <a:gd name="connsiteY1" fmla="*/ 841894 h 969758"/>
              <a:gd name="connsiteX2" fmla="*/ 199602 w 2747412"/>
              <a:gd name="connsiteY2" fmla="*/ 969758 h 969758"/>
              <a:gd name="connsiteX3" fmla="*/ 394420 w 2747412"/>
              <a:gd name="connsiteY3" fmla="*/ 841894 h 969758"/>
              <a:gd name="connsiteX4" fmla="*/ 590089 w 2747412"/>
              <a:gd name="connsiteY4" fmla="*/ 969758 h 969758"/>
              <a:gd name="connsiteX5" fmla="*/ 785618 w 2747412"/>
              <a:gd name="connsiteY5" fmla="*/ 841894 h 969758"/>
              <a:gd name="connsiteX6" fmla="*/ 980830 w 2747412"/>
              <a:gd name="connsiteY6" fmla="*/ 969758 h 969758"/>
              <a:gd name="connsiteX7" fmla="*/ 1177197 w 2747412"/>
              <a:gd name="connsiteY7" fmla="*/ 841894 h 969758"/>
              <a:gd name="connsiteX8" fmla="*/ 1372803 w 2747412"/>
              <a:gd name="connsiteY8" fmla="*/ 969758 h 969758"/>
              <a:gd name="connsiteX9" fmla="*/ 1568789 w 2747412"/>
              <a:gd name="connsiteY9" fmla="*/ 841894 h 969758"/>
              <a:gd name="connsiteX10" fmla="*/ 1763797 w 2747412"/>
              <a:gd name="connsiteY10" fmla="*/ 969758 h 969758"/>
              <a:gd name="connsiteX11" fmla="*/ 1960762 w 2747412"/>
              <a:gd name="connsiteY11" fmla="*/ 841894 h 969758"/>
              <a:gd name="connsiteX12" fmla="*/ 2155770 w 2747412"/>
              <a:gd name="connsiteY12" fmla="*/ 969758 h 969758"/>
              <a:gd name="connsiteX13" fmla="*/ 2351757 w 2747412"/>
              <a:gd name="connsiteY13" fmla="*/ 841894 h 969758"/>
              <a:gd name="connsiteX14" fmla="*/ 2547743 w 2747412"/>
              <a:gd name="connsiteY14" fmla="*/ 969758 h 969758"/>
              <a:gd name="connsiteX15" fmla="*/ 2747412 w 2747412"/>
              <a:gd name="connsiteY15" fmla="*/ 841894 h 969758"/>
              <a:gd name="connsiteX16" fmla="*/ 2744237 w 2747412"/>
              <a:gd name="connsiteY16" fmla="*/ 0 h 969758"/>
              <a:gd name="connsiteX17" fmla="*/ 297 w 2747412"/>
              <a:gd name="connsiteY17" fmla="*/ 3243 h 969758"/>
              <a:gd name="connsiteX0" fmla="*/ 297 w 2747412"/>
              <a:gd name="connsiteY0" fmla="*/ 0 h 973000"/>
              <a:gd name="connsiteX1" fmla="*/ 364 w 2747412"/>
              <a:gd name="connsiteY1" fmla="*/ 845136 h 973000"/>
              <a:gd name="connsiteX2" fmla="*/ 199602 w 2747412"/>
              <a:gd name="connsiteY2" fmla="*/ 973000 h 973000"/>
              <a:gd name="connsiteX3" fmla="*/ 394420 w 2747412"/>
              <a:gd name="connsiteY3" fmla="*/ 845136 h 973000"/>
              <a:gd name="connsiteX4" fmla="*/ 590089 w 2747412"/>
              <a:gd name="connsiteY4" fmla="*/ 973000 h 973000"/>
              <a:gd name="connsiteX5" fmla="*/ 785618 w 2747412"/>
              <a:gd name="connsiteY5" fmla="*/ 845136 h 973000"/>
              <a:gd name="connsiteX6" fmla="*/ 980830 w 2747412"/>
              <a:gd name="connsiteY6" fmla="*/ 973000 h 973000"/>
              <a:gd name="connsiteX7" fmla="*/ 1177197 w 2747412"/>
              <a:gd name="connsiteY7" fmla="*/ 845136 h 973000"/>
              <a:gd name="connsiteX8" fmla="*/ 1372803 w 2747412"/>
              <a:gd name="connsiteY8" fmla="*/ 973000 h 973000"/>
              <a:gd name="connsiteX9" fmla="*/ 1568789 w 2747412"/>
              <a:gd name="connsiteY9" fmla="*/ 845136 h 973000"/>
              <a:gd name="connsiteX10" fmla="*/ 1763797 w 2747412"/>
              <a:gd name="connsiteY10" fmla="*/ 973000 h 973000"/>
              <a:gd name="connsiteX11" fmla="*/ 1960762 w 2747412"/>
              <a:gd name="connsiteY11" fmla="*/ 845136 h 973000"/>
              <a:gd name="connsiteX12" fmla="*/ 2155770 w 2747412"/>
              <a:gd name="connsiteY12" fmla="*/ 973000 h 973000"/>
              <a:gd name="connsiteX13" fmla="*/ 2351757 w 2747412"/>
              <a:gd name="connsiteY13" fmla="*/ 845136 h 973000"/>
              <a:gd name="connsiteX14" fmla="*/ 2547743 w 2747412"/>
              <a:gd name="connsiteY14" fmla="*/ 973000 h 973000"/>
              <a:gd name="connsiteX15" fmla="*/ 2747412 w 2747412"/>
              <a:gd name="connsiteY15" fmla="*/ 845136 h 973000"/>
              <a:gd name="connsiteX16" fmla="*/ 2744237 w 2747412"/>
              <a:gd name="connsiteY16" fmla="*/ 3242 h 973000"/>
              <a:gd name="connsiteX17" fmla="*/ 297 w 2747412"/>
              <a:gd name="connsiteY17" fmla="*/ 0 h 973000"/>
              <a:gd name="connsiteX0" fmla="*/ 3175 w 2747048"/>
              <a:gd name="connsiteY0" fmla="*/ 0 h 973000"/>
              <a:gd name="connsiteX1" fmla="*/ 0 w 2747048"/>
              <a:gd name="connsiteY1" fmla="*/ 845136 h 973000"/>
              <a:gd name="connsiteX2" fmla="*/ 199238 w 2747048"/>
              <a:gd name="connsiteY2" fmla="*/ 973000 h 973000"/>
              <a:gd name="connsiteX3" fmla="*/ 394056 w 2747048"/>
              <a:gd name="connsiteY3" fmla="*/ 845136 h 973000"/>
              <a:gd name="connsiteX4" fmla="*/ 589725 w 2747048"/>
              <a:gd name="connsiteY4" fmla="*/ 973000 h 973000"/>
              <a:gd name="connsiteX5" fmla="*/ 785254 w 2747048"/>
              <a:gd name="connsiteY5" fmla="*/ 845136 h 973000"/>
              <a:gd name="connsiteX6" fmla="*/ 980466 w 2747048"/>
              <a:gd name="connsiteY6" fmla="*/ 973000 h 973000"/>
              <a:gd name="connsiteX7" fmla="*/ 1176833 w 2747048"/>
              <a:gd name="connsiteY7" fmla="*/ 845136 h 973000"/>
              <a:gd name="connsiteX8" fmla="*/ 1372439 w 2747048"/>
              <a:gd name="connsiteY8" fmla="*/ 973000 h 973000"/>
              <a:gd name="connsiteX9" fmla="*/ 1568425 w 2747048"/>
              <a:gd name="connsiteY9" fmla="*/ 845136 h 973000"/>
              <a:gd name="connsiteX10" fmla="*/ 1763433 w 2747048"/>
              <a:gd name="connsiteY10" fmla="*/ 973000 h 973000"/>
              <a:gd name="connsiteX11" fmla="*/ 1960398 w 2747048"/>
              <a:gd name="connsiteY11" fmla="*/ 845136 h 973000"/>
              <a:gd name="connsiteX12" fmla="*/ 2155406 w 2747048"/>
              <a:gd name="connsiteY12" fmla="*/ 973000 h 973000"/>
              <a:gd name="connsiteX13" fmla="*/ 2351393 w 2747048"/>
              <a:gd name="connsiteY13" fmla="*/ 845136 h 973000"/>
              <a:gd name="connsiteX14" fmla="*/ 2547379 w 2747048"/>
              <a:gd name="connsiteY14" fmla="*/ 973000 h 973000"/>
              <a:gd name="connsiteX15" fmla="*/ 2747048 w 2747048"/>
              <a:gd name="connsiteY15" fmla="*/ 845136 h 973000"/>
              <a:gd name="connsiteX16" fmla="*/ 2743873 w 2747048"/>
              <a:gd name="connsiteY16" fmla="*/ 3242 h 973000"/>
              <a:gd name="connsiteX17" fmla="*/ 3175 w 2747048"/>
              <a:gd name="connsiteY17" fmla="*/ 0 h 973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747048" h="973000">
                <a:moveTo>
                  <a:pt x="3175" y="0"/>
                </a:moveTo>
                <a:cubicBezTo>
                  <a:pt x="2117" y="297925"/>
                  <a:pt x="1058" y="547211"/>
                  <a:pt x="0" y="845136"/>
                </a:cubicBezTo>
                <a:lnTo>
                  <a:pt x="199238" y="973000"/>
                </a:lnTo>
                <a:lnTo>
                  <a:pt x="394056" y="845136"/>
                </a:lnTo>
                <a:lnTo>
                  <a:pt x="589725" y="973000"/>
                </a:lnTo>
                <a:lnTo>
                  <a:pt x="785254" y="845136"/>
                </a:lnTo>
                <a:lnTo>
                  <a:pt x="980466" y="973000"/>
                </a:lnTo>
                <a:lnTo>
                  <a:pt x="1176833" y="845136"/>
                </a:lnTo>
                <a:lnTo>
                  <a:pt x="1372439" y="973000"/>
                </a:lnTo>
                <a:lnTo>
                  <a:pt x="1568425" y="845136"/>
                </a:lnTo>
                <a:lnTo>
                  <a:pt x="1763433" y="973000"/>
                </a:lnTo>
                <a:lnTo>
                  <a:pt x="1960398" y="845136"/>
                </a:lnTo>
                <a:lnTo>
                  <a:pt x="2155406" y="973000"/>
                </a:lnTo>
                <a:lnTo>
                  <a:pt x="2351393" y="845136"/>
                </a:lnTo>
                <a:lnTo>
                  <a:pt x="2547379" y="973000"/>
                </a:lnTo>
                <a:lnTo>
                  <a:pt x="2747048" y="845136"/>
                </a:lnTo>
                <a:cubicBezTo>
                  <a:pt x="2745990" y="547211"/>
                  <a:pt x="2744931" y="301167"/>
                  <a:pt x="2743873" y="3242"/>
                </a:cubicBezTo>
                <a:lnTo>
                  <a:pt x="3175" y="0"/>
                </a:lnTo>
                <a:close/>
              </a:path>
            </a:pathLst>
          </a:custGeom>
          <a:solidFill>
            <a:srgbClr val="FEFFFE"/>
          </a:solidFill>
          <a:ln w="12700">
            <a:solidFill>
              <a:srgbClr val="6F7878"/>
            </a:solidFill>
          </a:ln>
        </p:spPr>
        <p:txBody>
          <a:bodyPr/>
          <a:lstStyle/>
          <a:p>
            <a:r>
              <a:rPr lang="en-US" sz="750" dirty="0"/>
              <a:t>One of your coworkers reported being physically assaulted by your manager. You witnessed this altercation and provided a statement to human resources corroborating his report. Your manager is now</a:t>
            </a:r>
            <a:r>
              <a:rPr lang="en-US" sz="750" b="1" dirty="0"/>
              <a:t> taking you off your project and relocating to a less desirable work location. </a:t>
            </a:r>
            <a:r>
              <a:rPr lang="en-US" sz="750" dirty="0"/>
              <a:t>He insists this has nothing to do with your report, but you aren’t sure. </a:t>
            </a:r>
          </a:p>
        </p:txBody>
      </p:sp>
      <p:sp>
        <p:nvSpPr>
          <p:cNvPr id="15" name="Freeform 21">
            <a:extLst>
              <a:ext uri="{FF2B5EF4-FFF2-40B4-BE49-F238E27FC236}">
                <a16:creationId xmlns:a16="http://schemas.microsoft.com/office/drawing/2014/main" id="{B5FF4012-4D0D-472C-88E1-E185FD248A23}"/>
              </a:ext>
            </a:extLst>
          </p:cNvPr>
          <p:cNvSpPr/>
          <p:nvPr/>
        </p:nvSpPr>
        <p:spPr>
          <a:xfrm>
            <a:off x="6300937" y="2612168"/>
            <a:ext cx="1985210" cy="1291963"/>
          </a:xfrm>
          <a:custGeom>
            <a:avLst/>
            <a:gdLst>
              <a:gd name="connsiteX0" fmla="*/ 3175 w 2747048"/>
              <a:gd name="connsiteY0" fmla="*/ 482600 h 1504239"/>
              <a:gd name="connsiteX1" fmla="*/ 0 w 2747048"/>
              <a:gd name="connsiteY1" fmla="*/ 1376375 h 1504239"/>
              <a:gd name="connsiteX2" fmla="*/ 199238 w 2747048"/>
              <a:gd name="connsiteY2" fmla="*/ 1504239 h 1504239"/>
              <a:gd name="connsiteX3" fmla="*/ 394056 w 2747048"/>
              <a:gd name="connsiteY3" fmla="*/ 1376375 h 1504239"/>
              <a:gd name="connsiteX4" fmla="*/ 589725 w 2747048"/>
              <a:gd name="connsiteY4" fmla="*/ 1504239 h 1504239"/>
              <a:gd name="connsiteX5" fmla="*/ 785254 w 2747048"/>
              <a:gd name="connsiteY5" fmla="*/ 1376375 h 1504239"/>
              <a:gd name="connsiteX6" fmla="*/ 980466 w 2747048"/>
              <a:gd name="connsiteY6" fmla="*/ 1504239 h 1504239"/>
              <a:gd name="connsiteX7" fmla="*/ 1176833 w 2747048"/>
              <a:gd name="connsiteY7" fmla="*/ 1376375 h 1504239"/>
              <a:gd name="connsiteX8" fmla="*/ 1372439 w 2747048"/>
              <a:gd name="connsiteY8" fmla="*/ 1504239 h 1504239"/>
              <a:gd name="connsiteX9" fmla="*/ 1568425 w 2747048"/>
              <a:gd name="connsiteY9" fmla="*/ 1376375 h 1504239"/>
              <a:gd name="connsiteX10" fmla="*/ 1763433 w 2747048"/>
              <a:gd name="connsiteY10" fmla="*/ 1504239 h 1504239"/>
              <a:gd name="connsiteX11" fmla="*/ 1960398 w 2747048"/>
              <a:gd name="connsiteY11" fmla="*/ 1376375 h 1504239"/>
              <a:gd name="connsiteX12" fmla="*/ 2155406 w 2747048"/>
              <a:gd name="connsiteY12" fmla="*/ 1504239 h 1504239"/>
              <a:gd name="connsiteX13" fmla="*/ 2351393 w 2747048"/>
              <a:gd name="connsiteY13" fmla="*/ 1376375 h 1504239"/>
              <a:gd name="connsiteX14" fmla="*/ 2547379 w 2747048"/>
              <a:gd name="connsiteY14" fmla="*/ 1504239 h 1504239"/>
              <a:gd name="connsiteX15" fmla="*/ 2747048 w 2747048"/>
              <a:gd name="connsiteY15" fmla="*/ 1376375 h 1504239"/>
              <a:gd name="connsiteX16" fmla="*/ 2747048 w 2747048"/>
              <a:gd name="connsiteY16" fmla="*/ 0 h 1504239"/>
              <a:gd name="connsiteX17" fmla="*/ 3175 w 2747048"/>
              <a:gd name="connsiteY17" fmla="*/ 482600 h 1504239"/>
              <a:gd name="connsiteX0" fmla="*/ 3175 w 2747048"/>
              <a:gd name="connsiteY0" fmla="*/ 0 h 1021639"/>
              <a:gd name="connsiteX1" fmla="*/ 0 w 2747048"/>
              <a:gd name="connsiteY1" fmla="*/ 893775 h 1021639"/>
              <a:gd name="connsiteX2" fmla="*/ 199238 w 2747048"/>
              <a:gd name="connsiteY2" fmla="*/ 1021639 h 1021639"/>
              <a:gd name="connsiteX3" fmla="*/ 394056 w 2747048"/>
              <a:gd name="connsiteY3" fmla="*/ 893775 h 1021639"/>
              <a:gd name="connsiteX4" fmla="*/ 589725 w 2747048"/>
              <a:gd name="connsiteY4" fmla="*/ 1021639 h 1021639"/>
              <a:gd name="connsiteX5" fmla="*/ 785254 w 2747048"/>
              <a:gd name="connsiteY5" fmla="*/ 893775 h 1021639"/>
              <a:gd name="connsiteX6" fmla="*/ 980466 w 2747048"/>
              <a:gd name="connsiteY6" fmla="*/ 1021639 h 1021639"/>
              <a:gd name="connsiteX7" fmla="*/ 1176833 w 2747048"/>
              <a:gd name="connsiteY7" fmla="*/ 893775 h 1021639"/>
              <a:gd name="connsiteX8" fmla="*/ 1372439 w 2747048"/>
              <a:gd name="connsiteY8" fmla="*/ 1021639 h 1021639"/>
              <a:gd name="connsiteX9" fmla="*/ 1568425 w 2747048"/>
              <a:gd name="connsiteY9" fmla="*/ 893775 h 1021639"/>
              <a:gd name="connsiteX10" fmla="*/ 1763433 w 2747048"/>
              <a:gd name="connsiteY10" fmla="*/ 1021639 h 1021639"/>
              <a:gd name="connsiteX11" fmla="*/ 1960398 w 2747048"/>
              <a:gd name="connsiteY11" fmla="*/ 893775 h 1021639"/>
              <a:gd name="connsiteX12" fmla="*/ 2155406 w 2747048"/>
              <a:gd name="connsiteY12" fmla="*/ 1021639 h 1021639"/>
              <a:gd name="connsiteX13" fmla="*/ 2351393 w 2747048"/>
              <a:gd name="connsiteY13" fmla="*/ 893775 h 1021639"/>
              <a:gd name="connsiteX14" fmla="*/ 2547379 w 2747048"/>
              <a:gd name="connsiteY14" fmla="*/ 1021639 h 1021639"/>
              <a:gd name="connsiteX15" fmla="*/ 2747048 w 2747048"/>
              <a:gd name="connsiteY15" fmla="*/ 893775 h 1021639"/>
              <a:gd name="connsiteX16" fmla="*/ 2743873 w 2747048"/>
              <a:gd name="connsiteY16" fmla="*/ 0 h 1021639"/>
              <a:gd name="connsiteX17" fmla="*/ 3175 w 2747048"/>
              <a:gd name="connsiteY17" fmla="*/ 0 h 1021639"/>
              <a:gd name="connsiteX0" fmla="*/ 3175 w 2747048"/>
              <a:gd name="connsiteY0" fmla="*/ 51881 h 1021639"/>
              <a:gd name="connsiteX1" fmla="*/ 0 w 2747048"/>
              <a:gd name="connsiteY1" fmla="*/ 893775 h 1021639"/>
              <a:gd name="connsiteX2" fmla="*/ 199238 w 2747048"/>
              <a:gd name="connsiteY2" fmla="*/ 1021639 h 1021639"/>
              <a:gd name="connsiteX3" fmla="*/ 394056 w 2747048"/>
              <a:gd name="connsiteY3" fmla="*/ 893775 h 1021639"/>
              <a:gd name="connsiteX4" fmla="*/ 589725 w 2747048"/>
              <a:gd name="connsiteY4" fmla="*/ 1021639 h 1021639"/>
              <a:gd name="connsiteX5" fmla="*/ 785254 w 2747048"/>
              <a:gd name="connsiteY5" fmla="*/ 893775 h 1021639"/>
              <a:gd name="connsiteX6" fmla="*/ 980466 w 2747048"/>
              <a:gd name="connsiteY6" fmla="*/ 1021639 h 1021639"/>
              <a:gd name="connsiteX7" fmla="*/ 1176833 w 2747048"/>
              <a:gd name="connsiteY7" fmla="*/ 893775 h 1021639"/>
              <a:gd name="connsiteX8" fmla="*/ 1372439 w 2747048"/>
              <a:gd name="connsiteY8" fmla="*/ 1021639 h 1021639"/>
              <a:gd name="connsiteX9" fmla="*/ 1568425 w 2747048"/>
              <a:gd name="connsiteY9" fmla="*/ 893775 h 1021639"/>
              <a:gd name="connsiteX10" fmla="*/ 1763433 w 2747048"/>
              <a:gd name="connsiteY10" fmla="*/ 1021639 h 1021639"/>
              <a:gd name="connsiteX11" fmla="*/ 1960398 w 2747048"/>
              <a:gd name="connsiteY11" fmla="*/ 893775 h 1021639"/>
              <a:gd name="connsiteX12" fmla="*/ 2155406 w 2747048"/>
              <a:gd name="connsiteY12" fmla="*/ 1021639 h 1021639"/>
              <a:gd name="connsiteX13" fmla="*/ 2351393 w 2747048"/>
              <a:gd name="connsiteY13" fmla="*/ 893775 h 1021639"/>
              <a:gd name="connsiteX14" fmla="*/ 2547379 w 2747048"/>
              <a:gd name="connsiteY14" fmla="*/ 1021639 h 1021639"/>
              <a:gd name="connsiteX15" fmla="*/ 2747048 w 2747048"/>
              <a:gd name="connsiteY15" fmla="*/ 893775 h 1021639"/>
              <a:gd name="connsiteX16" fmla="*/ 2743873 w 2747048"/>
              <a:gd name="connsiteY16" fmla="*/ 0 h 1021639"/>
              <a:gd name="connsiteX17" fmla="*/ 3175 w 2747048"/>
              <a:gd name="connsiteY17" fmla="*/ 51881 h 1021639"/>
              <a:gd name="connsiteX0" fmla="*/ 3175 w 2747048"/>
              <a:gd name="connsiteY0" fmla="*/ 0 h 969758"/>
              <a:gd name="connsiteX1" fmla="*/ 0 w 2747048"/>
              <a:gd name="connsiteY1" fmla="*/ 841894 h 969758"/>
              <a:gd name="connsiteX2" fmla="*/ 199238 w 2747048"/>
              <a:gd name="connsiteY2" fmla="*/ 969758 h 969758"/>
              <a:gd name="connsiteX3" fmla="*/ 394056 w 2747048"/>
              <a:gd name="connsiteY3" fmla="*/ 841894 h 969758"/>
              <a:gd name="connsiteX4" fmla="*/ 589725 w 2747048"/>
              <a:gd name="connsiteY4" fmla="*/ 969758 h 969758"/>
              <a:gd name="connsiteX5" fmla="*/ 785254 w 2747048"/>
              <a:gd name="connsiteY5" fmla="*/ 841894 h 969758"/>
              <a:gd name="connsiteX6" fmla="*/ 980466 w 2747048"/>
              <a:gd name="connsiteY6" fmla="*/ 969758 h 969758"/>
              <a:gd name="connsiteX7" fmla="*/ 1176833 w 2747048"/>
              <a:gd name="connsiteY7" fmla="*/ 841894 h 969758"/>
              <a:gd name="connsiteX8" fmla="*/ 1372439 w 2747048"/>
              <a:gd name="connsiteY8" fmla="*/ 969758 h 969758"/>
              <a:gd name="connsiteX9" fmla="*/ 1568425 w 2747048"/>
              <a:gd name="connsiteY9" fmla="*/ 841894 h 969758"/>
              <a:gd name="connsiteX10" fmla="*/ 1763433 w 2747048"/>
              <a:gd name="connsiteY10" fmla="*/ 969758 h 969758"/>
              <a:gd name="connsiteX11" fmla="*/ 1960398 w 2747048"/>
              <a:gd name="connsiteY11" fmla="*/ 841894 h 969758"/>
              <a:gd name="connsiteX12" fmla="*/ 2155406 w 2747048"/>
              <a:gd name="connsiteY12" fmla="*/ 969758 h 969758"/>
              <a:gd name="connsiteX13" fmla="*/ 2351393 w 2747048"/>
              <a:gd name="connsiteY13" fmla="*/ 841894 h 969758"/>
              <a:gd name="connsiteX14" fmla="*/ 2547379 w 2747048"/>
              <a:gd name="connsiteY14" fmla="*/ 969758 h 969758"/>
              <a:gd name="connsiteX15" fmla="*/ 2747048 w 2747048"/>
              <a:gd name="connsiteY15" fmla="*/ 841894 h 969758"/>
              <a:gd name="connsiteX16" fmla="*/ 2743873 w 2747048"/>
              <a:gd name="connsiteY16" fmla="*/ 0 h 969758"/>
              <a:gd name="connsiteX17" fmla="*/ 3175 w 2747048"/>
              <a:gd name="connsiteY17" fmla="*/ 0 h 969758"/>
              <a:gd name="connsiteX0" fmla="*/ 297 w 2747412"/>
              <a:gd name="connsiteY0" fmla="*/ 3243 h 969758"/>
              <a:gd name="connsiteX1" fmla="*/ 364 w 2747412"/>
              <a:gd name="connsiteY1" fmla="*/ 841894 h 969758"/>
              <a:gd name="connsiteX2" fmla="*/ 199602 w 2747412"/>
              <a:gd name="connsiteY2" fmla="*/ 969758 h 969758"/>
              <a:gd name="connsiteX3" fmla="*/ 394420 w 2747412"/>
              <a:gd name="connsiteY3" fmla="*/ 841894 h 969758"/>
              <a:gd name="connsiteX4" fmla="*/ 590089 w 2747412"/>
              <a:gd name="connsiteY4" fmla="*/ 969758 h 969758"/>
              <a:gd name="connsiteX5" fmla="*/ 785618 w 2747412"/>
              <a:gd name="connsiteY5" fmla="*/ 841894 h 969758"/>
              <a:gd name="connsiteX6" fmla="*/ 980830 w 2747412"/>
              <a:gd name="connsiteY6" fmla="*/ 969758 h 969758"/>
              <a:gd name="connsiteX7" fmla="*/ 1177197 w 2747412"/>
              <a:gd name="connsiteY7" fmla="*/ 841894 h 969758"/>
              <a:gd name="connsiteX8" fmla="*/ 1372803 w 2747412"/>
              <a:gd name="connsiteY8" fmla="*/ 969758 h 969758"/>
              <a:gd name="connsiteX9" fmla="*/ 1568789 w 2747412"/>
              <a:gd name="connsiteY9" fmla="*/ 841894 h 969758"/>
              <a:gd name="connsiteX10" fmla="*/ 1763797 w 2747412"/>
              <a:gd name="connsiteY10" fmla="*/ 969758 h 969758"/>
              <a:gd name="connsiteX11" fmla="*/ 1960762 w 2747412"/>
              <a:gd name="connsiteY11" fmla="*/ 841894 h 969758"/>
              <a:gd name="connsiteX12" fmla="*/ 2155770 w 2747412"/>
              <a:gd name="connsiteY12" fmla="*/ 969758 h 969758"/>
              <a:gd name="connsiteX13" fmla="*/ 2351757 w 2747412"/>
              <a:gd name="connsiteY13" fmla="*/ 841894 h 969758"/>
              <a:gd name="connsiteX14" fmla="*/ 2547743 w 2747412"/>
              <a:gd name="connsiteY14" fmla="*/ 969758 h 969758"/>
              <a:gd name="connsiteX15" fmla="*/ 2747412 w 2747412"/>
              <a:gd name="connsiteY15" fmla="*/ 841894 h 969758"/>
              <a:gd name="connsiteX16" fmla="*/ 2744237 w 2747412"/>
              <a:gd name="connsiteY16" fmla="*/ 0 h 969758"/>
              <a:gd name="connsiteX17" fmla="*/ 297 w 2747412"/>
              <a:gd name="connsiteY17" fmla="*/ 3243 h 969758"/>
              <a:gd name="connsiteX0" fmla="*/ 297 w 2747412"/>
              <a:gd name="connsiteY0" fmla="*/ 0 h 973000"/>
              <a:gd name="connsiteX1" fmla="*/ 364 w 2747412"/>
              <a:gd name="connsiteY1" fmla="*/ 845136 h 973000"/>
              <a:gd name="connsiteX2" fmla="*/ 199602 w 2747412"/>
              <a:gd name="connsiteY2" fmla="*/ 973000 h 973000"/>
              <a:gd name="connsiteX3" fmla="*/ 394420 w 2747412"/>
              <a:gd name="connsiteY3" fmla="*/ 845136 h 973000"/>
              <a:gd name="connsiteX4" fmla="*/ 590089 w 2747412"/>
              <a:gd name="connsiteY4" fmla="*/ 973000 h 973000"/>
              <a:gd name="connsiteX5" fmla="*/ 785618 w 2747412"/>
              <a:gd name="connsiteY5" fmla="*/ 845136 h 973000"/>
              <a:gd name="connsiteX6" fmla="*/ 980830 w 2747412"/>
              <a:gd name="connsiteY6" fmla="*/ 973000 h 973000"/>
              <a:gd name="connsiteX7" fmla="*/ 1177197 w 2747412"/>
              <a:gd name="connsiteY7" fmla="*/ 845136 h 973000"/>
              <a:gd name="connsiteX8" fmla="*/ 1372803 w 2747412"/>
              <a:gd name="connsiteY8" fmla="*/ 973000 h 973000"/>
              <a:gd name="connsiteX9" fmla="*/ 1568789 w 2747412"/>
              <a:gd name="connsiteY9" fmla="*/ 845136 h 973000"/>
              <a:gd name="connsiteX10" fmla="*/ 1763797 w 2747412"/>
              <a:gd name="connsiteY10" fmla="*/ 973000 h 973000"/>
              <a:gd name="connsiteX11" fmla="*/ 1960762 w 2747412"/>
              <a:gd name="connsiteY11" fmla="*/ 845136 h 973000"/>
              <a:gd name="connsiteX12" fmla="*/ 2155770 w 2747412"/>
              <a:gd name="connsiteY12" fmla="*/ 973000 h 973000"/>
              <a:gd name="connsiteX13" fmla="*/ 2351757 w 2747412"/>
              <a:gd name="connsiteY13" fmla="*/ 845136 h 973000"/>
              <a:gd name="connsiteX14" fmla="*/ 2547743 w 2747412"/>
              <a:gd name="connsiteY14" fmla="*/ 973000 h 973000"/>
              <a:gd name="connsiteX15" fmla="*/ 2747412 w 2747412"/>
              <a:gd name="connsiteY15" fmla="*/ 845136 h 973000"/>
              <a:gd name="connsiteX16" fmla="*/ 2744237 w 2747412"/>
              <a:gd name="connsiteY16" fmla="*/ 3242 h 973000"/>
              <a:gd name="connsiteX17" fmla="*/ 297 w 2747412"/>
              <a:gd name="connsiteY17" fmla="*/ 0 h 973000"/>
              <a:gd name="connsiteX0" fmla="*/ 3175 w 2747048"/>
              <a:gd name="connsiteY0" fmla="*/ 0 h 973000"/>
              <a:gd name="connsiteX1" fmla="*/ 0 w 2747048"/>
              <a:gd name="connsiteY1" fmla="*/ 845136 h 973000"/>
              <a:gd name="connsiteX2" fmla="*/ 199238 w 2747048"/>
              <a:gd name="connsiteY2" fmla="*/ 973000 h 973000"/>
              <a:gd name="connsiteX3" fmla="*/ 394056 w 2747048"/>
              <a:gd name="connsiteY3" fmla="*/ 845136 h 973000"/>
              <a:gd name="connsiteX4" fmla="*/ 589725 w 2747048"/>
              <a:gd name="connsiteY4" fmla="*/ 973000 h 973000"/>
              <a:gd name="connsiteX5" fmla="*/ 785254 w 2747048"/>
              <a:gd name="connsiteY5" fmla="*/ 845136 h 973000"/>
              <a:gd name="connsiteX6" fmla="*/ 980466 w 2747048"/>
              <a:gd name="connsiteY6" fmla="*/ 973000 h 973000"/>
              <a:gd name="connsiteX7" fmla="*/ 1176833 w 2747048"/>
              <a:gd name="connsiteY7" fmla="*/ 845136 h 973000"/>
              <a:gd name="connsiteX8" fmla="*/ 1372439 w 2747048"/>
              <a:gd name="connsiteY8" fmla="*/ 973000 h 973000"/>
              <a:gd name="connsiteX9" fmla="*/ 1568425 w 2747048"/>
              <a:gd name="connsiteY9" fmla="*/ 845136 h 973000"/>
              <a:gd name="connsiteX10" fmla="*/ 1763433 w 2747048"/>
              <a:gd name="connsiteY10" fmla="*/ 973000 h 973000"/>
              <a:gd name="connsiteX11" fmla="*/ 1960398 w 2747048"/>
              <a:gd name="connsiteY11" fmla="*/ 845136 h 973000"/>
              <a:gd name="connsiteX12" fmla="*/ 2155406 w 2747048"/>
              <a:gd name="connsiteY12" fmla="*/ 973000 h 973000"/>
              <a:gd name="connsiteX13" fmla="*/ 2351393 w 2747048"/>
              <a:gd name="connsiteY13" fmla="*/ 845136 h 973000"/>
              <a:gd name="connsiteX14" fmla="*/ 2547379 w 2747048"/>
              <a:gd name="connsiteY14" fmla="*/ 973000 h 973000"/>
              <a:gd name="connsiteX15" fmla="*/ 2747048 w 2747048"/>
              <a:gd name="connsiteY15" fmla="*/ 845136 h 973000"/>
              <a:gd name="connsiteX16" fmla="*/ 2743873 w 2747048"/>
              <a:gd name="connsiteY16" fmla="*/ 3242 h 973000"/>
              <a:gd name="connsiteX17" fmla="*/ 3175 w 2747048"/>
              <a:gd name="connsiteY17" fmla="*/ 0 h 973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747048" h="973000">
                <a:moveTo>
                  <a:pt x="3175" y="0"/>
                </a:moveTo>
                <a:cubicBezTo>
                  <a:pt x="2117" y="297925"/>
                  <a:pt x="1058" y="547211"/>
                  <a:pt x="0" y="845136"/>
                </a:cubicBezTo>
                <a:lnTo>
                  <a:pt x="199238" y="973000"/>
                </a:lnTo>
                <a:lnTo>
                  <a:pt x="394056" y="845136"/>
                </a:lnTo>
                <a:lnTo>
                  <a:pt x="589725" y="973000"/>
                </a:lnTo>
                <a:lnTo>
                  <a:pt x="785254" y="845136"/>
                </a:lnTo>
                <a:lnTo>
                  <a:pt x="980466" y="973000"/>
                </a:lnTo>
                <a:lnTo>
                  <a:pt x="1176833" y="845136"/>
                </a:lnTo>
                <a:lnTo>
                  <a:pt x="1372439" y="973000"/>
                </a:lnTo>
                <a:lnTo>
                  <a:pt x="1568425" y="845136"/>
                </a:lnTo>
                <a:lnTo>
                  <a:pt x="1763433" y="973000"/>
                </a:lnTo>
                <a:lnTo>
                  <a:pt x="1960398" y="845136"/>
                </a:lnTo>
                <a:lnTo>
                  <a:pt x="2155406" y="973000"/>
                </a:lnTo>
                <a:lnTo>
                  <a:pt x="2351393" y="845136"/>
                </a:lnTo>
                <a:lnTo>
                  <a:pt x="2547379" y="973000"/>
                </a:lnTo>
                <a:lnTo>
                  <a:pt x="2747048" y="845136"/>
                </a:lnTo>
                <a:cubicBezTo>
                  <a:pt x="2745990" y="547211"/>
                  <a:pt x="2744931" y="301167"/>
                  <a:pt x="2743873" y="3242"/>
                </a:cubicBezTo>
                <a:lnTo>
                  <a:pt x="3175" y="0"/>
                </a:lnTo>
                <a:close/>
              </a:path>
            </a:pathLst>
          </a:custGeom>
          <a:solidFill>
            <a:srgbClr val="FEFFFE"/>
          </a:solidFill>
          <a:ln w="12700">
            <a:solidFill>
              <a:srgbClr val="6F7878"/>
            </a:solidFill>
          </a:ln>
        </p:spPr>
        <p:txBody>
          <a:bodyPr/>
          <a:lstStyle/>
          <a:p>
            <a:r>
              <a:rPr lang="en-US" sz="750" dirty="0"/>
              <a:t>Your manager said he was planning on putting you up for promotion next cycle. Between that conversation and now, you file a complaint against a well-liked team member due to her disparaging remarks against another coworker. Your </a:t>
            </a:r>
            <a:r>
              <a:rPr lang="en-US" sz="750" b="1" dirty="0"/>
              <a:t>manager has been noticeably colder to you </a:t>
            </a:r>
            <a:r>
              <a:rPr lang="en-US" sz="750" dirty="0"/>
              <a:t>since you filed your report and today has said he isn’t putting you up for promotion. </a:t>
            </a:r>
          </a:p>
        </p:txBody>
      </p:sp>
      <p:sp>
        <p:nvSpPr>
          <p:cNvPr id="16" name="TextBox 15">
            <a:extLst>
              <a:ext uri="{FF2B5EF4-FFF2-40B4-BE49-F238E27FC236}">
                <a16:creationId xmlns:a16="http://schemas.microsoft.com/office/drawing/2014/main" id="{DC573E1C-2200-486E-9D85-F0253C990BEA}"/>
              </a:ext>
            </a:extLst>
          </p:cNvPr>
          <p:cNvSpPr txBox="1"/>
          <p:nvPr/>
        </p:nvSpPr>
        <p:spPr>
          <a:xfrm>
            <a:off x="3522244" y="4138947"/>
            <a:ext cx="1988820" cy="957955"/>
          </a:xfrm>
          <a:prstGeom prst="rect">
            <a:avLst/>
          </a:prstGeom>
          <a:noFill/>
          <a:ln>
            <a:solidFill>
              <a:schemeClr val="tx1"/>
            </a:solidFill>
          </a:ln>
        </p:spPr>
        <p:txBody>
          <a:bodyPr wrap="square" lIns="68580" tIns="68580" bIns="68580" rtlCol="0">
            <a:spAutoFit/>
          </a:bodyPr>
          <a:lstStyle/>
          <a:p>
            <a:pPr marL="128588" indent="-128588">
              <a:buFont typeface="Arial" panose="020B0604020202020204" pitchFamily="34" charset="0"/>
              <a:buChar char="•"/>
            </a:pPr>
            <a:r>
              <a:rPr lang="en-US" sz="750" i="1" dirty="0"/>
              <a:t>What are your rights in this situation? </a:t>
            </a:r>
          </a:p>
          <a:p>
            <a:pPr marL="128588" indent="-128588">
              <a:buFont typeface="Arial" panose="020B0604020202020204" pitchFamily="34" charset="0"/>
              <a:buChar char="•"/>
            </a:pPr>
            <a:r>
              <a:rPr lang="en-US" sz="750" i="1" dirty="0"/>
              <a:t>Who else at your organization could you speak to about this? </a:t>
            </a:r>
          </a:p>
          <a:p>
            <a:pPr marL="128588" indent="-128588">
              <a:buFont typeface="Arial" panose="020B0604020202020204" pitchFamily="34" charset="0"/>
              <a:buChar char="•"/>
            </a:pPr>
            <a:r>
              <a:rPr lang="en-US" sz="750" i="1" dirty="0"/>
              <a:t>How does your organization take action against those who retaliate against reporters?</a:t>
            </a:r>
          </a:p>
          <a:p>
            <a:endParaRPr lang="en-US" sz="825" i="1" dirty="0"/>
          </a:p>
        </p:txBody>
      </p:sp>
      <p:sp>
        <p:nvSpPr>
          <p:cNvPr id="17" name="Rectangle 16">
            <a:extLst>
              <a:ext uri="{FF2B5EF4-FFF2-40B4-BE49-F238E27FC236}">
                <a16:creationId xmlns:a16="http://schemas.microsoft.com/office/drawing/2014/main" id="{E4C2F4A0-58C6-49BF-9073-191505F91B75}"/>
              </a:ext>
            </a:extLst>
          </p:cNvPr>
          <p:cNvSpPr/>
          <p:nvPr/>
        </p:nvSpPr>
        <p:spPr>
          <a:xfrm>
            <a:off x="3522248" y="3951760"/>
            <a:ext cx="1988820" cy="187187"/>
          </a:xfrm>
          <a:prstGeom prst="rect">
            <a:avLst/>
          </a:prstGeom>
          <a:solidFill>
            <a:srgbClr val="E81159"/>
          </a:solidFill>
          <a:ln w="12700">
            <a:solidFill>
              <a:srgbClr val="E8115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900" b="1" dirty="0"/>
              <a:t>Discussion </a:t>
            </a:r>
          </a:p>
        </p:txBody>
      </p:sp>
      <p:sp>
        <p:nvSpPr>
          <p:cNvPr id="18" name="TextBox 17">
            <a:extLst>
              <a:ext uri="{FF2B5EF4-FFF2-40B4-BE49-F238E27FC236}">
                <a16:creationId xmlns:a16="http://schemas.microsoft.com/office/drawing/2014/main" id="{8A8A3203-B846-41E8-9B81-458D920FE153}"/>
              </a:ext>
            </a:extLst>
          </p:cNvPr>
          <p:cNvSpPr txBox="1"/>
          <p:nvPr/>
        </p:nvSpPr>
        <p:spPr>
          <a:xfrm>
            <a:off x="6300936" y="4138947"/>
            <a:ext cx="1988820" cy="946413"/>
          </a:xfrm>
          <a:prstGeom prst="rect">
            <a:avLst/>
          </a:prstGeom>
          <a:noFill/>
          <a:ln>
            <a:solidFill>
              <a:schemeClr val="tx1"/>
            </a:solidFill>
          </a:ln>
        </p:spPr>
        <p:txBody>
          <a:bodyPr wrap="square" lIns="68580" tIns="68580" bIns="68580" rtlCol="0">
            <a:spAutoFit/>
          </a:bodyPr>
          <a:lstStyle/>
          <a:p>
            <a:pPr marL="128588" indent="-128588">
              <a:buFont typeface="Arial" panose="020B0604020202020204" pitchFamily="34" charset="0"/>
              <a:buChar char="•"/>
            </a:pPr>
            <a:r>
              <a:rPr lang="en-US" sz="750" i="1" dirty="0"/>
              <a:t>How does your organization define retaliation? How is that definition separate from negative behavior? </a:t>
            </a:r>
          </a:p>
          <a:p>
            <a:pPr marL="128588" indent="-128588">
              <a:buFont typeface="Arial" panose="020B0604020202020204" pitchFamily="34" charset="0"/>
              <a:buChar char="•"/>
            </a:pPr>
            <a:r>
              <a:rPr lang="en-US" sz="750" i="1" dirty="0"/>
              <a:t>Who could you speak to within your organization to discuss this situation and your rights? </a:t>
            </a:r>
          </a:p>
          <a:p>
            <a:endParaRPr lang="en-US" sz="750" i="1" dirty="0"/>
          </a:p>
        </p:txBody>
      </p:sp>
      <p:sp>
        <p:nvSpPr>
          <p:cNvPr id="19" name="Rectangle 18">
            <a:extLst>
              <a:ext uri="{FF2B5EF4-FFF2-40B4-BE49-F238E27FC236}">
                <a16:creationId xmlns:a16="http://schemas.microsoft.com/office/drawing/2014/main" id="{8B2F8A2F-2D17-4025-9297-6394EA4EDEDB}"/>
              </a:ext>
            </a:extLst>
          </p:cNvPr>
          <p:cNvSpPr/>
          <p:nvPr/>
        </p:nvSpPr>
        <p:spPr>
          <a:xfrm>
            <a:off x="6300940" y="3951760"/>
            <a:ext cx="1988820" cy="187187"/>
          </a:xfrm>
          <a:prstGeom prst="rect">
            <a:avLst/>
          </a:prstGeom>
          <a:solidFill>
            <a:srgbClr val="E81159"/>
          </a:solidFill>
          <a:ln w="12700">
            <a:solidFill>
              <a:srgbClr val="E8115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900" b="1" dirty="0"/>
              <a:t>Discussion </a:t>
            </a:r>
          </a:p>
        </p:txBody>
      </p:sp>
      <p:pic>
        <p:nvPicPr>
          <p:cNvPr id="7" name="Picture 6">
            <a:extLst>
              <a:ext uri="{FF2B5EF4-FFF2-40B4-BE49-F238E27FC236}">
                <a16:creationId xmlns:a16="http://schemas.microsoft.com/office/drawing/2014/main" id="{2577148E-0BAB-4BDC-BB8F-F056201B3266}"/>
              </a:ext>
            </a:extLst>
          </p:cNvPr>
          <p:cNvPicPr>
            <a:picLocks noChangeAspect="1"/>
          </p:cNvPicPr>
          <p:nvPr/>
        </p:nvPicPr>
        <p:blipFill>
          <a:blip r:embed="rId3"/>
          <a:stretch>
            <a:fillRect/>
          </a:stretch>
        </p:blipFill>
        <p:spPr>
          <a:xfrm>
            <a:off x="753784" y="2155794"/>
            <a:ext cx="569311" cy="442797"/>
          </a:xfrm>
          <a:prstGeom prst="rect">
            <a:avLst/>
          </a:prstGeom>
        </p:spPr>
      </p:pic>
      <p:pic>
        <p:nvPicPr>
          <p:cNvPr id="9" name="Picture 8">
            <a:extLst>
              <a:ext uri="{FF2B5EF4-FFF2-40B4-BE49-F238E27FC236}">
                <a16:creationId xmlns:a16="http://schemas.microsoft.com/office/drawing/2014/main" id="{CA77E819-396E-4A18-BFE0-02C87648CCAC}"/>
              </a:ext>
            </a:extLst>
          </p:cNvPr>
          <p:cNvPicPr>
            <a:picLocks noChangeAspect="1"/>
          </p:cNvPicPr>
          <p:nvPr/>
        </p:nvPicPr>
        <p:blipFill>
          <a:blip r:embed="rId4"/>
          <a:stretch>
            <a:fillRect/>
          </a:stretch>
        </p:blipFill>
        <p:spPr>
          <a:xfrm>
            <a:off x="3522243" y="2149834"/>
            <a:ext cx="490198" cy="381265"/>
          </a:xfrm>
          <a:prstGeom prst="rect">
            <a:avLst/>
          </a:prstGeom>
        </p:spPr>
      </p:pic>
      <p:sp>
        <p:nvSpPr>
          <p:cNvPr id="26" name="TextBox 25">
            <a:extLst>
              <a:ext uri="{FF2B5EF4-FFF2-40B4-BE49-F238E27FC236}">
                <a16:creationId xmlns:a16="http://schemas.microsoft.com/office/drawing/2014/main" id="{AFFC2C78-4399-47B4-A65A-9A4A93FAD71B}"/>
              </a:ext>
            </a:extLst>
          </p:cNvPr>
          <p:cNvSpPr txBox="1"/>
          <p:nvPr/>
        </p:nvSpPr>
        <p:spPr>
          <a:xfrm>
            <a:off x="419101" y="1207738"/>
            <a:ext cx="8207448" cy="584775"/>
          </a:xfrm>
          <a:prstGeom prst="rect">
            <a:avLst/>
          </a:prstGeom>
          <a:noFill/>
        </p:spPr>
        <p:txBody>
          <a:bodyPr wrap="square">
            <a:spAutoFit/>
          </a:bodyPr>
          <a:lstStyle/>
          <a:p>
            <a:pPr marL="0" indent="0">
              <a:buNone/>
            </a:pPr>
            <a:r>
              <a:rPr lang="en-US" sz="1600" dirty="0"/>
              <a:t>Discuss the following scenarios in small groups and consider the below discussion points before reporting back to the Group:</a:t>
            </a:r>
          </a:p>
        </p:txBody>
      </p:sp>
    </p:spTree>
    <p:extLst>
      <p:ext uri="{BB962C8B-B14F-4D97-AF65-F5344CB8AC3E}">
        <p14:creationId xmlns:p14="http://schemas.microsoft.com/office/powerpoint/2010/main" val="247568605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5878328" y="3071775"/>
            <a:ext cx="2706688" cy="2852737"/>
          </a:xfrm>
        </p:spPr>
        <p:txBody>
          <a:bodyPr/>
          <a:lstStyle/>
          <a:p>
            <a:r>
              <a:rPr lang="en-US" b="1" dirty="0"/>
              <a:t>The RPM Hotline</a:t>
            </a:r>
          </a:p>
        </p:txBody>
      </p:sp>
    </p:spTree>
    <p:extLst>
      <p:ext uri="{BB962C8B-B14F-4D97-AF65-F5344CB8AC3E}">
        <p14:creationId xmlns:p14="http://schemas.microsoft.com/office/powerpoint/2010/main" val="1853371871"/>
      </p:ext>
    </p:extLst>
  </p:cSld>
  <p:clrMapOvr>
    <a:masterClrMapping/>
  </p:clrMapOvr>
  <p:transition spd="med">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85800" y="274638"/>
            <a:ext cx="8229600" cy="512171"/>
          </a:xfrm>
        </p:spPr>
        <p:txBody>
          <a:bodyPr/>
          <a:lstStyle/>
          <a:p>
            <a:pPr algn="l"/>
            <a:r>
              <a:rPr lang="en-US" dirty="0"/>
              <a:t>The Hotline</a:t>
            </a:r>
          </a:p>
        </p:txBody>
      </p:sp>
      <p:sp>
        <p:nvSpPr>
          <p:cNvPr id="3" name="Content Placeholder 2"/>
          <p:cNvSpPr>
            <a:spLocks noGrp="1"/>
          </p:cNvSpPr>
          <p:nvPr>
            <p:ph idx="1"/>
          </p:nvPr>
        </p:nvSpPr>
        <p:spPr>
          <a:xfrm>
            <a:off x="762000" y="1447799"/>
            <a:ext cx="3962400" cy="4525963"/>
          </a:xfrm>
        </p:spPr>
        <p:txBody>
          <a:bodyPr>
            <a:normAutofit/>
          </a:bodyPr>
          <a:lstStyle/>
          <a:p>
            <a:r>
              <a:rPr lang="en-US" sz="1700" dirty="0"/>
              <a:t>Operated by an independent third-party provider</a:t>
            </a:r>
          </a:p>
          <a:p>
            <a:r>
              <a:rPr lang="en-US" sz="1700" dirty="0"/>
              <a:t>Voice or written reports may be made</a:t>
            </a:r>
          </a:p>
          <a:p>
            <a:pPr lvl="1"/>
            <a:r>
              <a:rPr lang="en-US" sz="1500" dirty="0"/>
              <a:t>Interpreters are available</a:t>
            </a:r>
          </a:p>
          <a:p>
            <a:r>
              <a:rPr lang="en-US" sz="1700" dirty="0"/>
              <a:t>Calls are not voice recorded</a:t>
            </a:r>
          </a:p>
          <a:p>
            <a:r>
              <a:rPr lang="en-US" sz="1700" dirty="0"/>
              <a:t>If permitted by local law – person submitting report may remain anonymous</a:t>
            </a:r>
          </a:p>
          <a:p>
            <a:pPr lvl="1"/>
            <a:r>
              <a:rPr lang="en-US" sz="1500" dirty="0"/>
              <a:t>Anonymous reporting could negatively affect our ability to investigate</a:t>
            </a:r>
          </a:p>
          <a:p>
            <a:endParaRPr lang="en-US" dirty="0"/>
          </a:p>
          <a:p>
            <a:endParaRPr lang="en-US" dirty="0"/>
          </a:p>
          <a:p>
            <a:pPr marL="0" indent="0">
              <a:buNone/>
            </a:pPr>
            <a:endParaRPr lang="en-US" dirty="0"/>
          </a:p>
        </p:txBody>
      </p:sp>
      <p:sp>
        <p:nvSpPr>
          <p:cNvPr id="4" name="Slide Number Placeholder 3"/>
          <p:cNvSpPr>
            <a:spLocks noGrp="1"/>
          </p:cNvSpPr>
          <p:nvPr>
            <p:ph type="sldNum" sz="quarter" idx="12"/>
          </p:nvPr>
        </p:nvSpPr>
        <p:spPr/>
        <p:txBody>
          <a:bodyPr/>
          <a:lstStyle/>
          <a:p>
            <a:fld id="{BC1B6A75-6DFD-4E65-BA70-3DC040D592AA}" type="slidenum">
              <a:rPr lang="en-US" smtClean="0"/>
              <a:t>39</a:t>
            </a:fld>
            <a:endParaRPr lang="en-US" dirty="0"/>
          </a:p>
        </p:txBody>
      </p:sp>
      <p:sp>
        <p:nvSpPr>
          <p:cNvPr id="6" name="Footer Placeholder 5"/>
          <p:cNvSpPr>
            <a:spLocks noGrp="1"/>
          </p:cNvSpPr>
          <p:nvPr>
            <p:ph type="ftr" sz="quarter" idx="11"/>
          </p:nvPr>
        </p:nvSpPr>
        <p:spPr/>
        <p:txBody>
          <a:bodyPr/>
          <a:lstStyle/>
          <a:p>
            <a:endParaRPr lang="en-US" dirty="0"/>
          </a:p>
        </p:txBody>
      </p:sp>
      <p:pic>
        <p:nvPicPr>
          <p:cNvPr id="9" name="Picture 8">
            <a:extLst>
              <a:ext uri="{FF2B5EF4-FFF2-40B4-BE49-F238E27FC236}">
                <a16:creationId xmlns:a16="http://schemas.microsoft.com/office/drawing/2014/main" id="{02A79A51-FA11-A54D-98A2-9108E8452DC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243044" y="1447799"/>
            <a:ext cx="3900956" cy="5045074"/>
          </a:xfrm>
          <a:prstGeom prst="rect">
            <a:avLst/>
          </a:prstGeom>
        </p:spPr>
      </p:pic>
    </p:spTree>
    <p:extLst>
      <p:ext uri="{BB962C8B-B14F-4D97-AF65-F5344CB8AC3E}">
        <p14:creationId xmlns:p14="http://schemas.microsoft.com/office/powerpoint/2010/main" val="4222788370"/>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b="1" dirty="0" err="1"/>
              <a:t>Recognising</a:t>
            </a:r>
            <a:r>
              <a:rPr lang="en-US" b="1" dirty="0"/>
              <a:t> Prohibited </a:t>
            </a:r>
            <a:r>
              <a:rPr lang="en-US" b="1" dirty="0" err="1"/>
              <a:t>Behaviour</a:t>
            </a:r>
            <a:endParaRPr lang="en-US" b="1" dirty="0"/>
          </a:p>
        </p:txBody>
      </p:sp>
    </p:spTree>
    <p:extLst>
      <p:ext uri="{BB962C8B-B14F-4D97-AF65-F5344CB8AC3E}">
        <p14:creationId xmlns:p14="http://schemas.microsoft.com/office/powerpoint/2010/main" val="3724775009"/>
      </p:ext>
    </p:extLst>
  </p:cSld>
  <p:clrMapOvr>
    <a:masterClrMapping/>
  </p:clrMapOvr>
  <p:transition spd="med">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E26A9BEC-294B-4944-8150-DE536376C7A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1449642"/>
            <a:ext cx="9144000" cy="5041392"/>
          </a:xfrm>
          <a:prstGeom prst="rect">
            <a:avLst/>
          </a:prstGeom>
        </p:spPr>
      </p:pic>
      <p:sp>
        <p:nvSpPr>
          <p:cNvPr id="2" name="Title 1"/>
          <p:cNvSpPr>
            <a:spLocks noGrp="1"/>
          </p:cNvSpPr>
          <p:nvPr>
            <p:ph type="title"/>
          </p:nvPr>
        </p:nvSpPr>
        <p:spPr>
          <a:xfrm>
            <a:off x="685800" y="274638"/>
            <a:ext cx="8229600" cy="537337"/>
          </a:xfrm>
        </p:spPr>
        <p:txBody>
          <a:bodyPr>
            <a:normAutofit/>
          </a:bodyPr>
          <a:lstStyle/>
          <a:p>
            <a:pPr algn="l"/>
            <a:r>
              <a:rPr lang="en-US" dirty="0"/>
              <a:t>Hotline Instructions</a:t>
            </a:r>
          </a:p>
        </p:txBody>
      </p:sp>
      <p:sp>
        <p:nvSpPr>
          <p:cNvPr id="3" name="Content Placeholder 2"/>
          <p:cNvSpPr>
            <a:spLocks noGrp="1"/>
          </p:cNvSpPr>
          <p:nvPr>
            <p:ph idx="1"/>
          </p:nvPr>
        </p:nvSpPr>
        <p:spPr>
          <a:xfrm>
            <a:off x="5334000" y="2699004"/>
            <a:ext cx="4191000" cy="3154363"/>
          </a:xfrm>
        </p:spPr>
        <p:txBody>
          <a:bodyPr/>
          <a:lstStyle/>
          <a:p>
            <a:r>
              <a:rPr lang="en-US" sz="1500" dirty="0">
                <a:hlinkClick r:id="rId4"/>
              </a:rPr>
              <a:t>https://iwf.tnwgrc.com/rpminternational</a:t>
            </a:r>
            <a:endParaRPr lang="en-US" sz="1500" dirty="0"/>
          </a:p>
          <a:p>
            <a:pPr marL="457200" lvl="1" indent="0">
              <a:buNone/>
            </a:pPr>
            <a:endParaRPr lang="en-US" dirty="0"/>
          </a:p>
          <a:p>
            <a:pPr marL="457200" lvl="1" indent="0">
              <a:buNone/>
            </a:pPr>
            <a:endParaRPr lang="en-US" dirty="0"/>
          </a:p>
          <a:p>
            <a:pPr marL="457200" lvl="1" indent="0">
              <a:buNone/>
            </a:pPr>
            <a:endParaRPr lang="en-US" dirty="0"/>
          </a:p>
          <a:p>
            <a:r>
              <a:rPr lang="en-US" sz="1500" dirty="0">
                <a:hlinkClick r:id="rId5"/>
              </a:rPr>
              <a:t>www.rpminc.com/hotline/</a:t>
            </a:r>
            <a:endParaRPr lang="en-US" sz="1500" dirty="0"/>
          </a:p>
          <a:p>
            <a:r>
              <a:rPr lang="en-US" sz="1500" dirty="0"/>
              <a:t>Posters at company locations</a:t>
            </a:r>
          </a:p>
          <a:p>
            <a:pPr lvl="1"/>
            <a:endParaRPr lang="en-US" dirty="0"/>
          </a:p>
        </p:txBody>
      </p:sp>
      <p:sp>
        <p:nvSpPr>
          <p:cNvPr id="4" name="Slide Number Placeholder 3"/>
          <p:cNvSpPr>
            <a:spLocks noGrp="1"/>
          </p:cNvSpPr>
          <p:nvPr>
            <p:ph type="sldNum" sz="quarter" idx="12"/>
          </p:nvPr>
        </p:nvSpPr>
        <p:spPr/>
        <p:txBody>
          <a:bodyPr/>
          <a:lstStyle/>
          <a:p>
            <a:fld id="{BC1B6A75-6DFD-4E65-BA70-3DC040D592AA}" type="slidenum">
              <a:rPr lang="en-US" smtClean="0"/>
              <a:t>40</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10" name="Content Placeholder 6">
            <a:extLst>
              <a:ext uri="{FF2B5EF4-FFF2-40B4-BE49-F238E27FC236}">
                <a16:creationId xmlns:a16="http://schemas.microsoft.com/office/drawing/2014/main" id="{B451AEF5-ADBE-5643-9D34-2DA580B0F9BB}"/>
              </a:ext>
            </a:extLst>
          </p:cNvPr>
          <p:cNvSpPr txBox="1">
            <a:spLocks/>
          </p:cNvSpPr>
          <p:nvPr/>
        </p:nvSpPr>
        <p:spPr>
          <a:xfrm>
            <a:off x="2362199" y="2690236"/>
            <a:ext cx="2971801" cy="896865"/>
          </a:xfrm>
          <a:prstGeom prst="rect">
            <a:avLst/>
          </a:prstGeom>
        </p:spPr>
        <p:txBody>
          <a:bodyPr vert="horz" lIns="91440" tIns="45720" rIns="91440" bIns="45720" rtlCol="0">
            <a:noAutofit/>
          </a:bodyPr>
          <a:lstStyle>
            <a:lvl1pPr marL="342900" indent="-342900" algn="l" defTabSz="914400" rtl="0" eaLnBrk="1" latinLnBrk="0" hangingPunct="1">
              <a:spcBef>
                <a:spcPct val="20000"/>
              </a:spcBef>
              <a:buClr>
                <a:schemeClr val="accent5"/>
              </a:buClr>
              <a:buFont typeface="Arial" panose="020B0604020202020204" pitchFamily="34" charset="0"/>
              <a:buChar char="•"/>
              <a:defRPr sz="2600" kern="1200">
                <a:solidFill>
                  <a:schemeClr val="tx1"/>
                </a:solidFill>
                <a:latin typeface="+mn-lt"/>
                <a:ea typeface="+mn-ea"/>
                <a:cs typeface="+mn-cs"/>
              </a:defRPr>
            </a:lvl1pPr>
            <a:lvl2pPr marL="742950" indent="-285750" algn="l" defTabSz="914400" rtl="0" eaLnBrk="1" latinLnBrk="0" hangingPunct="1">
              <a:spcBef>
                <a:spcPct val="20000"/>
              </a:spcBef>
              <a:buClr>
                <a:schemeClr val="accent5"/>
              </a:buClr>
              <a:buFont typeface="Arial" panose="020B0604020202020204" pitchFamily="34" charset="0"/>
              <a:buChar char="–"/>
              <a:defRPr sz="2400" b="0" i="0" u="none" kern="1200">
                <a:solidFill>
                  <a:schemeClr val="tx1"/>
                </a:solidFill>
                <a:latin typeface="+mn-lt"/>
                <a:ea typeface="+mn-ea"/>
                <a:cs typeface="+mn-cs"/>
              </a:defRPr>
            </a:lvl2pPr>
            <a:lvl3pPr marL="1143000" indent="-228600" algn="l" defTabSz="914400" rtl="0" eaLnBrk="1" latinLnBrk="0" hangingPunct="1">
              <a:spcBef>
                <a:spcPct val="20000"/>
              </a:spcBef>
              <a:buClr>
                <a:schemeClr val="accent5"/>
              </a:buClr>
              <a:buFont typeface="Arial" panose="020B0604020202020204" pitchFamily="34" charset="0"/>
              <a:buChar char="•"/>
              <a:defRPr sz="2200" kern="1200">
                <a:solidFill>
                  <a:schemeClr val="tx1"/>
                </a:solidFill>
                <a:latin typeface="+mn-lt"/>
                <a:ea typeface="+mn-ea"/>
                <a:cs typeface="+mn-cs"/>
              </a:defRPr>
            </a:lvl3pPr>
            <a:lvl4pPr marL="1600200" indent="-228600" algn="l" defTabSz="914400" rtl="0" eaLnBrk="1" latinLnBrk="0" hangingPunct="1">
              <a:spcBef>
                <a:spcPct val="20000"/>
              </a:spcBef>
              <a:buClr>
                <a:schemeClr val="accent5"/>
              </a:buClr>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Clr>
                <a:schemeClr val="accent5"/>
              </a:buClr>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r">
              <a:buNone/>
            </a:pPr>
            <a:r>
              <a:rPr lang="en-US" sz="2000" u="sng" dirty="0">
                <a:solidFill>
                  <a:schemeClr val="accent5">
                    <a:lumMod val="50000"/>
                  </a:schemeClr>
                </a:solidFill>
              </a:rPr>
              <a:t>WRITTEN REPORTS IN MOST LANGUAGES:</a:t>
            </a:r>
          </a:p>
        </p:txBody>
      </p:sp>
      <p:sp>
        <p:nvSpPr>
          <p:cNvPr id="11" name="Content Placeholder 6">
            <a:extLst>
              <a:ext uri="{FF2B5EF4-FFF2-40B4-BE49-F238E27FC236}">
                <a16:creationId xmlns:a16="http://schemas.microsoft.com/office/drawing/2014/main" id="{0050FB8A-91A4-9B4D-B569-26E96D4DF2BF}"/>
              </a:ext>
            </a:extLst>
          </p:cNvPr>
          <p:cNvSpPr txBox="1">
            <a:spLocks/>
          </p:cNvSpPr>
          <p:nvPr/>
        </p:nvSpPr>
        <p:spPr>
          <a:xfrm>
            <a:off x="3115953" y="4276185"/>
            <a:ext cx="2218047" cy="750382"/>
          </a:xfrm>
          <a:prstGeom prst="rect">
            <a:avLst/>
          </a:prstGeom>
        </p:spPr>
        <p:txBody>
          <a:bodyPr vert="horz" lIns="91440" tIns="45720" rIns="91440" bIns="45720" rtlCol="0">
            <a:noAutofit/>
          </a:bodyPr>
          <a:lstStyle>
            <a:lvl1pPr marL="342900" indent="-342900" algn="l" defTabSz="914400" rtl="0" eaLnBrk="1" latinLnBrk="0" hangingPunct="1">
              <a:spcBef>
                <a:spcPct val="20000"/>
              </a:spcBef>
              <a:buClr>
                <a:schemeClr val="accent5"/>
              </a:buClr>
              <a:buFont typeface="Arial" panose="020B0604020202020204" pitchFamily="34" charset="0"/>
              <a:buChar char="•"/>
              <a:defRPr sz="2600" kern="1200">
                <a:solidFill>
                  <a:schemeClr val="tx1"/>
                </a:solidFill>
                <a:latin typeface="+mn-lt"/>
                <a:ea typeface="+mn-ea"/>
                <a:cs typeface="+mn-cs"/>
              </a:defRPr>
            </a:lvl1pPr>
            <a:lvl2pPr marL="742950" indent="-285750" algn="l" defTabSz="914400" rtl="0" eaLnBrk="1" latinLnBrk="0" hangingPunct="1">
              <a:spcBef>
                <a:spcPct val="20000"/>
              </a:spcBef>
              <a:buClr>
                <a:schemeClr val="accent5"/>
              </a:buClr>
              <a:buFont typeface="Arial" panose="020B0604020202020204" pitchFamily="34" charset="0"/>
              <a:buChar char="–"/>
              <a:defRPr sz="2400" b="0" i="0" u="none" kern="1200">
                <a:solidFill>
                  <a:schemeClr val="tx1"/>
                </a:solidFill>
                <a:latin typeface="+mn-lt"/>
                <a:ea typeface="+mn-ea"/>
                <a:cs typeface="+mn-cs"/>
              </a:defRPr>
            </a:lvl2pPr>
            <a:lvl3pPr marL="1143000" indent="-228600" algn="l" defTabSz="914400" rtl="0" eaLnBrk="1" latinLnBrk="0" hangingPunct="1">
              <a:spcBef>
                <a:spcPct val="20000"/>
              </a:spcBef>
              <a:buClr>
                <a:schemeClr val="accent5"/>
              </a:buClr>
              <a:buFont typeface="Arial" panose="020B0604020202020204" pitchFamily="34" charset="0"/>
              <a:buChar char="•"/>
              <a:defRPr sz="2200" kern="1200">
                <a:solidFill>
                  <a:schemeClr val="tx1"/>
                </a:solidFill>
                <a:latin typeface="+mn-lt"/>
                <a:ea typeface="+mn-ea"/>
                <a:cs typeface="+mn-cs"/>
              </a:defRPr>
            </a:lvl3pPr>
            <a:lvl4pPr marL="1600200" indent="-228600" algn="l" defTabSz="914400" rtl="0" eaLnBrk="1" latinLnBrk="0" hangingPunct="1">
              <a:spcBef>
                <a:spcPct val="20000"/>
              </a:spcBef>
              <a:buClr>
                <a:schemeClr val="accent5"/>
              </a:buClr>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Clr>
                <a:schemeClr val="accent5"/>
              </a:buClr>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r">
              <a:buNone/>
            </a:pPr>
            <a:r>
              <a:rPr lang="en-US" sz="2000" u="sng" dirty="0">
                <a:solidFill>
                  <a:schemeClr val="accent5">
                    <a:lumMod val="50000"/>
                  </a:schemeClr>
                </a:solidFill>
              </a:rPr>
              <a:t>VOICE CALL </a:t>
            </a:r>
            <a:br>
              <a:rPr lang="en-US" sz="2000" u="sng" dirty="0">
                <a:solidFill>
                  <a:schemeClr val="accent5">
                    <a:lumMod val="50000"/>
                  </a:schemeClr>
                </a:solidFill>
              </a:rPr>
            </a:br>
            <a:r>
              <a:rPr lang="en-US" sz="2000" u="sng" dirty="0">
                <a:solidFill>
                  <a:schemeClr val="accent5">
                    <a:lumMod val="50000"/>
                  </a:schemeClr>
                </a:solidFill>
              </a:rPr>
              <a:t>INSTRUCTIONS:</a:t>
            </a:r>
          </a:p>
        </p:txBody>
      </p:sp>
    </p:spTree>
    <p:extLst>
      <p:ext uri="{BB962C8B-B14F-4D97-AF65-F5344CB8AC3E}">
        <p14:creationId xmlns:p14="http://schemas.microsoft.com/office/powerpoint/2010/main" val="1214255598"/>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5878328" y="3071775"/>
            <a:ext cx="2706688" cy="2852737"/>
          </a:xfrm>
        </p:spPr>
        <p:txBody>
          <a:bodyPr/>
          <a:lstStyle/>
          <a:p>
            <a:r>
              <a:rPr lang="en-US" b="1" dirty="0"/>
              <a:t>End of Presentation</a:t>
            </a:r>
          </a:p>
        </p:txBody>
      </p:sp>
    </p:spTree>
    <p:extLst>
      <p:ext uri="{BB962C8B-B14F-4D97-AF65-F5344CB8AC3E}">
        <p14:creationId xmlns:p14="http://schemas.microsoft.com/office/powerpoint/2010/main" val="2975654299"/>
      </p:ext>
    </p:extLst>
  </p:cSld>
  <p:clrMapOvr>
    <a:masterClrMapping/>
  </p:clrMapOvr>
  <p:transition spd="med">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Recognising</a:t>
            </a:r>
            <a:r>
              <a:rPr lang="en-US" dirty="0"/>
              <a:t> Prohibited </a:t>
            </a:r>
            <a:r>
              <a:rPr lang="en-US" dirty="0" err="1"/>
              <a:t>Behaviour</a:t>
            </a:r>
            <a:r>
              <a:rPr lang="en-US" dirty="0"/>
              <a:t>…</a:t>
            </a:r>
          </a:p>
        </p:txBody>
      </p:sp>
      <p:sp>
        <p:nvSpPr>
          <p:cNvPr id="4" name="Date Placeholder 3"/>
          <p:cNvSpPr>
            <a:spLocks noGrp="1"/>
          </p:cNvSpPr>
          <p:nvPr>
            <p:ph type="dt" sz="half" idx="2"/>
          </p:nvPr>
        </p:nvSpPr>
        <p:spPr/>
        <p:txBody>
          <a:bodyPr/>
          <a:lstStyle/>
          <a:p>
            <a:r>
              <a:rPr lang="en-US" dirty="0"/>
              <a:t>1/21/19</a:t>
            </a:r>
          </a:p>
        </p:txBody>
      </p:sp>
      <p:sp>
        <p:nvSpPr>
          <p:cNvPr id="5" name="Footer Placeholder 4"/>
          <p:cNvSpPr>
            <a:spLocks noGrp="1"/>
          </p:cNvSpPr>
          <p:nvPr>
            <p:ph type="ftr" sz="quarter" idx="3"/>
          </p:nvPr>
        </p:nvSpPr>
        <p:spPr/>
        <p:txBody>
          <a:bodyPr/>
          <a:lstStyle/>
          <a:p>
            <a:r>
              <a:rPr lang="en-US"/>
              <a:t>RPM International Inc.</a:t>
            </a:r>
            <a:endParaRPr lang="en-US" dirty="0"/>
          </a:p>
        </p:txBody>
      </p:sp>
      <p:sp>
        <p:nvSpPr>
          <p:cNvPr id="8" name="Content Placeholder 7">
            <a:extLst>
              <a:ext uri="{FF2B5EF4-FFF2-40B4-BE49-F238E27FC236}">
                <a16:creationId xmlns:a16="http://schemas.microsoft.com/office/drawing/2014/main" id="{C5202A71-F2C7-4343-8836-320079B58734}"/>
              </a:ext>
            </a:extLst>
          </p:cNvPr>
          <p:cNvSpPr>
            <a:spLocks noGrp="1"/>
          </p:cNvSpPr>
          <p:nvPr>
            <p:ph idx="1"/>
          </p:nvPr>
        </p:nvSpPr>
        <p:spPr>
          <a:xfrm>
            <a:off x="709180" y="1464287"/>
            <a:ext cx="7806170" cy="4337774"/>
          </a:xfrm>
        </p:spPr>
        <p:txBody>
          <a:bodyPr>
            <a:normAutofit lnSpcReduction="10000"/>
          </a:bodyPr>
          <a:lstStyle/>
          <a:p>
            <a:pPr marL="0" indent="0">
              <a:buNone/>
            </a:pPr>
            <a:r>
              <a:rPr lang="en-US" dirty="0"/>
              <a:t>There is no room at RPM or any of its subsidiaries for </a:t>
            </a:r>
            <a:r>
              <a:rPr lang="en-US" dirty="0" err="1"/>
              <a:t>behaviour</a:t>
            </a:r>
            <a:r>
              <a:rPr lang="en-US" dirty="0"/>
              <a:t> that is personally intimidating, degrading, or offensive, including:</a:t>
            </a:r>
          </a:p>
          <a:p>
            <a:pPr marL="0" indent="0">
              <a:buNone/>
            </a:pPr>
            <a:endParaRPr lang="en-US" dirty="0"/>
          </a:p>
          <a:p>
            <a:pPr>
              <a:buFontTx/>
              <a:buChar char="-"/>
            </a:pPr>
            <a:r>
              <a:rPr lang="en-US" dirty="0"/>
              <a:t>stereotyping people based on personal characteristics such as race, age, sex, or ethnicity</a:t>
            </a:r>
          </a:p>
          <a:p>
            <a:pPr marL="0" indent="0">
              <a:buNone/>
            </a:pPr>
            <a:endParaRPr lang="en-US" dirty="0"/>
          </a:p>
          <a:p>
            <a:pPr>
              <a:buFontTx/>
              <a:buChar char="-"/>
            </a:pPr>
            <a:r>
              <a:rPr lang="en-US" dirty="0"/>
              <a:t>making remarks, jokes, threats, impressions or gestures that could be perceived as stereotyping</a:t>
            </a:r>
          </a:p>
          <a:p>
            <a:pPr>
              <a:buFontTx/>
              <a:buChar char="-"/>
            </a:pPr>
            <a:endParaRPr lang="en-US" dirty="0"/>
          </a:p>
          <a:p>
            <a:pPr>
              <a:buFontTx/>
              <a:buChar char="-"/>
            </a:pPr>
            <a:r>
              <a:rPr lang="en-US" dirty="0"/>
              <a:t>displaying or circulating sexually suggestive pictures or material.</a:t>
            </a:r>
          </a:p>
          <a:p>
            <a:pPr marL="0" indent="0">
              <a:buNone/>
            </a:pPr>
            <a:endParaRPr lang="en-US" dirty="0"/>
          </a:p>
          <a:p>
            <a:pPr marL="0" indent="0">
              <a:buNone/>
            </a:pPr>
            <a:r>
              <a:rPr lang="en-US" dirty="0"/>
              <a:t>It's important that you </a:t>
            </a:r>
            <a:r>
              <a:rPr lang="en-US" dirty="0" err="1"/>
              <a:t>recognise</a:t>
            </a:r>
            <a:r>
              <a:rPr lang="en-US" dirty="0"/>
              <a:t> these </a:t>
            </a:r>
            <a:r>
              <a:rPr lang="en-US" dirty="0" err="1"/>
              <a:t>behaviours</a:t>
            </a:r>
            <a:r>
              <a:rPr lang="en-US" dirty="0"/>
              <a:t> because not only can they offend people, they are also prohibited the Values and Expectations of 168 and may even break the law.</a:t>
            </a:r>
          </a:p>
          <a:p>
            <a:endParaRPr lang="en-GB" dirty="0"/>
          </a:p>
        </p:txBody>
      </p:sp>
    </p:spTree>
    <p:extLst>
      <p:ext uri="{BB962C8B-B14F-4D97-AF65-F5344CB8AC3E}">
        <p14:creationId xmlns:p14="http://schemas.microsoft.com/office/powerpoint/2010/main" val="587820277"/>
      </p:ext>
    </p:extLst>
  </p:cSld>
  <p:clrMapOvr>
    <a:masterClrMapping/>
  </p:clrMapOvr>
  <mc:AlternateContent xmlns:mc="http://schemas.openxmlformats.org/markup-compatibility/2006" xmlns:p14="http://schemas.microsoft.com/office/powerpoint/2010/main">
    <mc:Choice Requires="p14">
      <p:transition spd="med" p14:dur="700" advClick="0" advTm="0">
        <p:fade/>
      </p:transition>
    </mc:Choice>
    <mc:Fallback xmlns="">
      <p:transition spd="med" advClick="0" advTm="0">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4E4E6B-6F36-46E4-87E0-7BADA20A42E6}"/>
              </a:ext>
            </a:extLst>
          </p:cNvPr>
          <p:cNvSpPr>
            <a:spLocks noGrp="1"/>
          </p:cNvSpPr>
          <p:nvPr>
            <p:ph type="title"/>
          </p:nvPr>
        </p:nvSpPr>
        <p:spPr/>
        <p:txBody>
          <a:bodyPr/>
          <a:lstStyle/>
          <a:p>
            <a:r>
              <a:rPr lang="en-GB" dirty="0"/>
              <a:t>Recognising Prohibited Behaviour…</a:t>
            </a:r>
          </a:p>
        </p:txBody>
      </p:sp>
      <p:sp>
        <p:nvSpPr>
          <p:cNvPr id="3" name="Content Placeholder 2">
            <a:extLst>
              <a:ext uri="{FF2B5EF4-FFF2-40B4-BE49-F238E27FC236}">
                <a16:creationId xmlns:a16="http://schemas.microsoft.com/office/drawing/2014/main" id="{0BAE01C3-7853-4BCB-B22F-226BD412395C}"/>
              </a:ext>
            </a:extLst>
          </p:cNvPr>
          <p:cNvSpPr>
            <a:spLocks noGrp="1"/>
          </p:cNvSpPr>
          <p:nvPr>
            <p:ph idx="1"/>
          </p:nvPr>
        </p:nvSpPr>
        <p:spPr>
          <a:xfrm>
            <a:off x="709180" y="1327126"/>
            <a:ext cx="4137140" cy="4845073"/>
          </a:xfrm>
        </p:spPr>
        <p:txBody>
          <a:bodyPr>
            <a:normAutofit fontScale="92500" lnSpcReduction="10000"/>
          </a:bodyPr>
          <a:lstStyle/>
          <a:p>
            <a:pPr marL="0" indent="0">
              <a:buNone/>
            </a:pPr>
            <a:r>
              <a:rPr lang="en-US" dirty="0"/>
              <a:t>Harassment takes many forms. This includes actions taken or comments directed against someone based on characteristics that are protected by Policy. </a:t>
            </a:r>
          </a:p>
          <a:p>
            <a:pPr marL="0" indent="0">
              <a:buNone/>
            </a:pPr>
            <a:endParaRPr lang="en-US" dirty="0"/>
          </a:p>
          <a:p>
            <a:pPr marL="0" indent="0">
              <a:buNone/>
            </a:pPr>
            <a:r>
              <a:rPr lang="en-US" dirty="0"/>
              <a:t>These characteristics can include:</a:t>
            </a:r>
          </a:p>
          <a:p>
            <a:r>
              <a:rPr lang="en-US" dirty="0"/>
              <a:t>Race, </a:t>
            </a:r>
            <a:r>
              <a:rPr lang="en-US" dirty="0" err="1"/>
              <a:t>colour</a:t>
            </a:r>
            <a:r>
              <a:rPr lang="en-US" dirty="0"/>
              <a:t>, national origin, or ethnicity</a:t>
            </a:r>
          </a:p>
          <a:p>
            <a:r>
              <a:rPr lang="en-US" dirty="0"/>
              <a:t>Gender, gender identity, or sexual orientation</a:t>
            </a:r>
          </a:p>
          <a:p>
            <a:r>
              <a:rPr lang="en-US" dirty="0"/>
              <a:t>Age</a:t>
            </a:r>
          </a:p>
          <a:p>
            <a:r>
              <a:rPr lang="en-US" dirty="0"/>
              <a:t>Religion</a:t>
            </a:r>
          </a:p>
          <a:p>
            <a:r>
              <a:rPr lang="en-US" dirty="0"/>
              <a:t>Disability</a:t>
            </a:r>
          </a:p>
          <a:p>
            <a:r>
              <a:rPr lang="en-US" dirty="0"/>
              <a:t>Marital status</a:t>
            </a:r>
          </a:p>
          <a:p>
            <a:r>
              <a:rPr lang="en-US" dirty="0"/>
              <a:t>Veteran status.</a:t>
            </a:r>
          </a:p>
          <a:p>
            <a:endParaRPr lang="en-GB" dirty="0"/>
          </a:p>
        </p:txBody>
      </p:sp>
      <p:pic>
        <p:nvPicPr>
          <p:cNvPr id="4" name="Picture 3">
            <a:extLst>
              <a:ext uri="{FF2B5EF4-FFF2-40B4-BE49-F238E27FC236}">
                <a16:creationId xmlns:a16="http://schemas.microsoft.com/office/drawing/2014/main" id="{C6ABBC7C-D0EB-42D7-A1B7-0B48B1508C52}"/>
              </a:ext>
            </a:extLst>
          </p:cNvPr>
          <p:cNvPicPr>
            <a:picLocks noChangeAspect="1"/>
          </p:cNvPicPr>
          <p:nvPr/>
        </p:nvPicPr>
        <p:blipFill rotWithShape="1">
          <a:blip r:embed="rId2">
            <a:extLst>
              <a:ext uri="{28A0092B-C50C-407E-A947-70E740481C1C}">
                <a14:useLocalDpi xmlns:a14="http://schemas.microsoft.com/office/drawing/2010/main" val="0"/>
              </a:ext>
            </a:extLst>
          </a:blip>
          <a:srcRect l="25832" r="22501"/>
          <a:stretch/>
        </p:blipFill>
        <p:spPr>
          <a:xfrm>
            <a:off x="5014612" y="1227125"/>
            <a:ext cx="3909931" cy="5045073"/>
          </a:xfrm>
          <a:prstGeom prst="rect">
            <a:avLst/>
          </a:prstGeom>
        </p:spPr>
      </p:pic>
    </p:spTree>
    <p:extLst>
      <p:ext uri="{BB962C8B-B14F-4D97-AF65-F5344CB8AC3E}">
        <p14:creationId xmlns:p14="http://schemas.microsoft.com/office/powerpoint/2010/main" val="1950888170"/>
      </p:ext>
    </p:extLst>
  </p:cSld>
  <p:clrMapOvr>
    <a:masterClrMapping/>
  </p:clrMapOvr>
  <mc:AlternateContent xmlns:mc="http://schemas.openxmlformats.org/markup-compatibility/2006" xmlns:p14="http://schemas.microsoft.com/office/powerpoint/2010/main">
    <mc:Choice Requires="p14">
      <p:transition spd="med" p14:dur="700" advClick="0" advTm="0">
        <p:fade/>
      </p:transition>
    </mc:Choice>
    <mc:Fallback xmlns="">
      <p:transition spd="med" advClick="0" advTm="0">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group of people sitting at a table using a computer&#10;&#10;Description automatically generated">
            <a:extLst>
              <a:ext uri="{FF2B5EF4-FFF2-40B4-BE49-F238E27FC236}">
                <a16:creationId xmlns:a16="http://schemas.microsoft.com/office/drawing/2014/main" id="{F98862E3-AACA-48D8-B8E4-EFC7A53954D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88736" y="2353701"/>
            <a:ext cx="2971800" cy="1908810"/>
          </a:xfrm>
          <a:prstGeom prst="rect">
            <a:avLst/>
          </a:prstGeom>
        </p:spPr>
      </p:pic>
      <p:sp>
        <p:nvSpPr>
          <p:cNvPr id="2" name="Title 1">
            <a:extLst>
              <a:ext uri="{FF2B5EF4-FFF2-40B4-BE49-F238E27FC236}">
                <a16:creationId xmlns:a16="http://schemas.microsoft.com/office/drawing/2014/main" id="{11D96BF3-9846-4D8F-9C2A-0D9E4D93292A}"/>
              </a:ext>
            </a:extLst>
          </p:cNvPr>
          <p:cNvSpPr>
            <a:spLocks noGrp="1"/>
          </p:cNvSpPr>
          <p:nvPr>
            <p:ph type="title"/>
          </p:nvPr>
        </p:nvSpPr>
        <p:spPr/>
        <p:txBody>
          <a:bodyPr/>
          <a:lstStyle/>
          <a:p>
            <a:r>
              <a:rPr lang="en-GB" dirty="0"/>
              <a:t>Recognising Prohibited Behaviour… </a:t>
            </a:r>
            <a:r>
              <a:rPr lang="en-GB" b="1" dirty="0"/>
              <a:t>SCENARIO </a:t>
            </a:r>
          </a:p>
        </p:txBody>
      </p:sp>
      <p:sp>
        <p:nvSpPr>
          <p:cNvPr id="3" name="Content Placeholder 2">
            <a:extLst>
              <a:ext uri="{FF2B5EF4-FFF2-40B4-BE49-F238E27FC236}">
                <a16:creationId xmlns:a16="http://schemas.microsoft.com/office/drawing/2014/main" id="{FABCC5AE-50CD-48DD-BEF0-81F1F77722B4}"/>
              </a:ext>
            </a:extLst>
          </p:cNvPr>
          <p:cNvSpPr>
            <a:spLocks noGrp="1"/>
          </p:cNvSpPr>
          <p:nvPr>
            <p:ph idx="1"/>
          </p:nvPr>
        </p:nvSpPr>
        <p:spPr>
          <a:xfrm>
            <a:off x="419100" y="1171679"/>
            <a:ext cx="5323332" cy="4598185"/>
          </a:xfrm>
        </p:spPr>
        <p:txBody>
          <a:bodyPr>
            <a:normAutofit lnSpcReduction="10000"/>
          </a:bodyPr>
          <a:lstStyle/>
          <a:p>
            <a:pPr marL="0" indent="0">
              <a:buNone/>
            </a:pPr>
            <a:r>
              <a:rPr lang="en-US" dirty="0"/>
              <a:t>Three colleagues are having fun altering pictures of employees, and they want to post them to the company's intranet. </a:t>
            </a:r>
          </a:p>
          <a:p>
            <a:pPr marL="0" indent="0">
              <a:buNone/>
            </a:pPr>
            <a:endParaRPr lang="en-US" dirty="0"/>
          </a:p>
          <a:p>
            <a:pPr marL="0" indent="0">
              <a:buNone/>
            </a:pPr>
            <a:r>
              <a:rPr lang="en-US" dirty="0"/>
              <a:t>What do you think is wrong with what they are about to do?</a:t>
            </a:r>
          </a:p>
          <a:p>
            <a:pPr marL="0" indent="0">
              <a:buNone/>
            </a:pPr>
            <a:endParaRPr lang="en-US" dirty="0"/>
          </a:p>
          <a:p>
            <a:pPr marL="457200" indent="-457200">
              <a:buAutoNum type="alphaLcParenR"/>
            </a:pPr>
            <a:r>
              <a:rPr lang="en-US" dirty="0"/>
              <a:t>Nothing, it's an internal website and everyone will know they are joking around </a:t>
            </a:r>
          </a:p>
          <a:p>
            <a:pPr marL="457200" indent="-457200">
              <a:buAutoNum type="alphaLcParenR"/>
            </a:pPr>
            <a:r>
              <a:rPr lang="en-US" dirty="0"/>
              <a:t>They're posting material that is inappropriate for work </a:t>
            </a:r>
          </a:p>
          <a:p>
            <a:pPr marL="457200" indent="-457200">
              <a:buAutoNum type="alphaLcParenR"/>
            </a:pPr>
            <a:r>
              <a:rPr lang="en-US" dirty="0"/>
              <a:t>People in the photos might feel embarrassed </a:t>
            </a:r>
          </a:p>
          <a:p>
            <a:pPr marL="457200" indent="-457200">
              <a:buAutoNum type="alphaLcParenR"/>
            </a:pPr>
            <a:r>
              <a:rPr lang="en-US" dirty="0"/>
              <a:t>Some people may feel left out if their photo isn't used</a:t>
            </a:r>
          </a:p>
          <a:p>
            <a:pPr marL="0" indent="0">
              <a:buNone/>
            </a:pPr>
            <a:endParaRPr lang="en-GB" dirty="0"/>
          </a:p>
        </p:txBody>
      </p:sp>
    </p:spTree>
    <p:extLst>
      <p:ext uri="{BB962C8B-B14F-4D97-AF65-F5344CB8AC3E}">
        <p14:creationId xmlns:p14="http://schemas.microsoft.com/office/powerpoint/2010/main" val="1518843083"/>
      </p:ext>
    </p:extLst>
  </p:cSld>
  <p:clrMapOvr>
    <a:masterClrMapping/>
  </p:clrMapOvr>
  <mc:AlternateContent xmlns:mc="http://schemas.openxmlformats.org/markup-compatibility/2006" xmlns:p14="http://schemas.microsoft.com/office/powerpoint/2010/main">
    <mc:Choice Requires="p14">
      <p:transition spd="med" p14:dur="700" advClick="0" advTm="0">
        <p:fade/>
      </p:transition>
    </mc:Choice>
    <mc:Fallback xmlns="">
      <p:transition spd="med" advClick="0" advTm="0">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A6CEEA-A544-4F13-8543-83DD54BA03E1}"/>
              </a:ext>
            </a:extLst>
          </p:cNvPr>
          <p:cNvSpPr>
            <a:spLocks noGrp="1"/>
          </p:cNvSpPr>
          <p:nvPr>
            <p:ph type="title"/>
          </p:nvPr>
        </p:nvSpPr>
        <p:spPr/>
        <p:txBody>
          <a:bodyPr/>
          <a:lstStyle/>
          <a:p>
            <a:r>
              <a:rPr lang="en-GB" dirty="0"/>
              <a:t>Recognising Prohibited Behaviour… </a:t>
            </a:r>
            <a:r>
              <a:rPr lang="en-GB" b="1" dirty="0"/>
              <a:t>ANSWER</a:t>
            </a:r>
            <a:endParaRPr lang="en-GB" dirty="0"/>
          </a:p>
        </p:txBody>
      </p:sp>
      <p:sp>
        <p:nvSpPr>
          <p:cNvPr id="3" name="Content Placeholder 2">
            <a:extLst>
              <a:ext uri="{FF2B5EF4-FFF2-40B4-BE49-F238E27FC236}">
                <a16:creationId xmlns:a16="http://schemas.microsoft.com/office/drawing/2014/main" id="{325BA8C7-470D-4ECD-8384-BF094C532730}"/>
              </a:ext>
            </a:extLst>
          </p:cNvPr>
          <p:cNvSpPr>
            <a:spLocks noGrp="1"/>
          </p:cNvSpPr>
          <p:nvPr>
            <p:ph idx="1"/>
          </p:nvPr>
        </p:nvSpPr>
        <p:spPr>
          <a:xfrm>
            <a:off x="709180" y="1839191"/>
            <a:ext cx="7806170" cy="3336313"/>
          </a:xfrm>
        </p:spPr>
        <p:txBody>
          <a:bodyPr/>
          <a:lstStyle/>
          <a:p>
            <a:pPr marL="0" indent="0">
              <a:buNone/>
            </a:pPr>
            <a:endParaRPr lang="en-US" dirty="0"/>
          </a:p>
          <a:p>
            <a:pPr marL="0" indent="0">
              <a:buNone/>
            </a:pPr>
            <a:r>
              <a:rPr lang="en-US" sz="2500" b="1" dirty="0"/>
              <a:t>b) And c)</a:t>
            </a:r>
          </a:p>
          <a:p>
            <a:pPr marL="0" indent="0">
              <a:buNone/>
            </a:pPr>
            <a:endParaRPr lang="en-US" dirty="0"/>
          </a:p>
          <a:p>
            <a:pPr marL="0" indent="0">
              <a:buNone/>
            </a:pPr>
            <a:endParaRPr lang="en-US" dirty="0"/>
          </a:p>
          <a:p>
            <a:pPr marL="0" indent="0">
              <a:buNone/>
            </a:pPr>
            <a:r>
              <a:rPr lang="en-US" dirty="0"/>
              <a:t>Circulating this kind of material at work is inappropriate—and using other people's photos could make those people feel embarrassed or even humiliated.</a:t>
            </a:r>
          </a:p>
          <a:p>
            <a:pPr marL="0" indent="0">
              <a:buNone/>
            </a:pPr>
            <a:endParaRPr lang="en-GB" dirty="0"/>
          </a:p>
        </p:txBody>
      </p:sp>
    </p:spTree>
    <p:extLst>
      <p:ext uri="{BB962C8B-B14F-4D97-AF65-F5344CB8AC3E}">
        <p14:creationId xmlns:p14="http://schemas.microsoft.com/office/powerpoint/2010/main" val="3948704610"/>
      </p:ext>
    </p:extLst>
  </p:cSld>
  <p:clrMapOvr>
    <a:masterClrMapping/>
  </p:clrMapOvr>
  <mc:AlternateContent xmlns:mc="http://schemas.openxmlformats.org/markup-compatibility/2006" xmlns:p14="http://schemas.microsoft.com/office/powerpoint/2010/main">
    <mc:Choice Requires="p14">
      <p:transition spd="med" p14:dur="700" advClick="0" advTm="0">
        <p:fade/>
      </p:transition>
    </mc:Choice>
    <mc:Fallback xmlns="">
      <p:transition spd="med" advClick="0" advTm="0">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AE01D7-7025-4F98-A810-B2922B74C458}"/>
              </a:ext>
            </a:extLst>
          </p:cNvPr>
          <p:cNvSpPr>
            <a:spLocks noGrp="1"/>
          </p:cNvSpPr>
          <p:nvPr>
            <p:ph type="title"/>
          </p:nvPr>
        </p:nvSpPr>
        <p:spPr/>
        <p:txBody>
          <a:bodyPr/>
          <a:lstStyle/>
          <a:p>
            <a:r>
              <a:rPr lang="en-GB" dirty="0"/>
              <a:t>Recognising Prohibited Behaviour… </a:t>
            </a:r>
            <a:r>
              <a:rPr lang="en-GB" b="1" dirty="0"/>
              <a:t>QUESTION</a:t>
            </a:r>
            <a:endParaRPr lang="en-GB" dirty="0"/>
          </a:p>
        </p:txBody>
      </p:sp>
      <p:sp>
        <p:nvSpPr>
          <p:cNvPr id="3" name="Content Placeholder 2">
            <a:extLst>
              <a:ext uri="{FF2B5EF4-FFF2-40B4-BE49-F238E27FC236}">
                <a16:creationId xmlns:a16="http://schemas.microsoft.com/office/drawing/2014/main" id="{09A277D9-CD59-4D31-89F7-74C0FA6B7F81}"/>
              </a:ext>
            </a:extLst>
          </p:cNvPr>
          <p:cNvSpPr>
            <a:spLocks noGrp="1"/>
          </p:cNvSpPr>
          <p:nvPr>
            <p:ph idx="1"/>
          </p:nvPr>
        </p:nvSpPr>
        <p:spPr>
          <a:xfrm>
            <a:off x="628650" y="1260113"/>
            <a:ext cx="7806170" cy="4337774"/>
          </a:xfrm>
        </p:spPr>
        <p:txBody>
          <a:bodyPr/>
          <a:lstStyle/>
          <a:p>
            <a:pPr marL="0" indent="0">
              <a:buNone/>
            </a:pPr>
            <a:endParaRPr lang="en-US" dirty="0"/>
          </a:p>
          <a:p>
            <a:pPr marL="0" indent="0">
              <a:buNone/>
            </a:pPr>
            <a:endParaRPr lang="en-US" dirty="0"/>
          </a:p>
          <a:p>
            <a:pPr marL="0" indent="0">
              <a:buNone/>
            </a:pPr>
            <a:r>
              <a:rPr lang="en-US" dirty="0"/>
              <a:t>Which of the following activities could lead to a charge of harassment?</a:t>
            </a:r>
          </a:p>
          <a:p>
            <a:pPr marL="0" indent="0">
              <a:buNone/>
            </a:pPr>
            <a:endParaRPr lang="en-US" dirty="0"/>
          </a:p>
          <a:p>
            <a:pPr marL="457200" indent="-457200">
              <a:buAutoNum type="alphaLcParenR"/>
            </a:pPr>
            <a:r>
              <a:rPr lang="en-US" dirty="0"/>
              <a:t>Promising someone a </a:t>
            </a:r>
            <a:r>
              <a:rPr lang="en-US" dirty="0" err="1"/>
              <a:t>favourable</a:t>
            </a:r>
            <a:r>
              <a:rPr lang="en-US" dirty="0"/>
              <a:t> review in exchange for a sexual relationship</a:t>
            </a:r>
          </a:p>
          <a:p>
            <a:pPr marL="457200" indent="-457200">
              <a:buAutoNum type="alphaLcParenR"/>
            </a:pPr>
            <a:r>
              <a:rPr lang="en-US" dirty="0"/>
              <a:t>Making unwelcome sexual advances</a:t>
            </a:r>
          </a:p>
          <a:p>
            <a:pPr marL="457200" indent="-457200">
              <a:buAutoNum type="alphaLcParenR"/>
            </a:pPr>
            <a:r>
              <a:rPr lang="en-US" dirty="0"/>
              <a:t>Repeatedly making fun of someone's accent</a:t>
            </a:r>
          </a:p>
          <a:p>
            <a:pPr marL="457200" indent="-457200">
              <a:buAutoNum type="alphaLcParenR"/>
            </a:pPr>
            <a:r>
              <a:rPr lang="en-US" dirty="0"/>
              <a:t>Teasing a coworker about her problems meeting deadlines</a:t>
            </a:r>
          </a:p>
        </p:txBody>
      </p:sp>
    </p:spTree>
    <p:extLst>
      <p:ext uri="{BB962C8B-B14F-4D97-AF65-F5344CB8AC3E}">
        <p14:creationId xmlns:p14="http://schemas.microsoft.com/office/powerpoint/2010/main" val="4068742213"/>
      </p:ext>
    </p:extLst>
  </p:cSld>
  <p:clrMapOvr>
    <a:masterClrMapping/>
  </p:clrMapOvr>
  <mc:AlternateContent xmlns:mc="http://schemas.openxmlformats.org/markup-compatibility/2006" xmlns:p14="http://schemas.microsoft.com/office/powerpoint/2010/main">
    <mc:Choice Requires="p14">
      <p:transition spd="med" p14:dur="700" advClick="0" advTm="0">
        <p:fade/>
      </p:transition>
    </mc:Choice>
    <mc:Fallback xmlns="">
      <p:transition spd="med" advClick="0" advTm="0">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4162&quot;&gt;&lt;version val=&quot;27028&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yearfmt&gt;&lt;begin val=&quot;0&quot;/&gt;&lt;end val=&quot;4&quot;/&gt;&lt;/m_yearfmt&gt;&lt;/m_precDefaultDate&gt;&lt;m_precDefaultYear&gt;&lt;m_bNumberIsYear val=&quot;0&quot;/&gt;&lt;m_strFormatTime&gt;%Y&lt;/m_strFormatTime&gt;&lt;m_yearfmt&gt;&lt;begin val=&quot;0&quot;/&gt;&lt;end val=&quot;0&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bNumberIsYear val=&quot;0&quot;/&gt;&lt;m_strFormatTime&gt;%d.&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3&quot;&gt;&lt;elem m_fUsage=&quot;5.94189690230814804295E+00&quot;&gt;&lt;m_msothmcolidx val=&quot;0&quot;/&gt;&lt;m_rgb r=&quot;20&quot; g=&quot;38&quot; b=&quot;64&quot;/&gt;&lt;m_nBrightness tagver0=&quot;26206&quot; tagname0=&quot;m_nBrightnessUNRECOGNIZED&quot; val=&quot;0&quot;/&gt;&lt;/elem&gt;&lt;elem m_fUsage=&quot;1.90876410999999990281E+00&quot;&gt;&lt;m_msothmcolidx val=&quot;0&quot;/&gt;&lt;m_rgb r=&quot;F6&quot; g=&quot;F3&quot; b=&quot;EB&quot;/&gt;&lt;m_nBrightness tagver0=&quot;26206&quot; tagname0=&quot;m_nBrightnessUNRECOGNIZED&quot; val=&quot;0&quot;/&gt;&lt;/elem&gt;&lt;elem m_fUsage=&quot;1.56784161766145224703E+00&quot;&gt;&lt;m_msothmcolidx val=&quot;0&quot;/&gt;&lt;m_rgb r=&quot;EB&quot; g=&quot;EE&quot; b=&quot;E6&quot;/&gt;&lt;m_nBrightness tagver0=&quot;26206&quot; tagname0=&quot;m_nBrightnessUNRECOGNIZED&quot; val=&quot;0&quot;/&gt;&lt;/elem&gt;&lt;/m_vecMRU&gt;&lt;/m_mruColor&gt;&lt;/CPresentation&gt;&lt;/root&gt;"/>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6LIik6J0SZG7_0mBG8XgJ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_mcjQMEtRZ.C8u5DBhCDU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RPM IR PPT Standard - DRAFT - 12.14.18" id="{9CE6E63C-E94D-FB46-91E7-6AA3D17BB118}" vid="{90DFF340-5132-1E4A-9E8E-B23BC845A75D}"/>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D590C2D6ED61D4479406C8DA89CF0878" ma:contentTypeVersion="10" ma:contentTypeDescription="Create a new document." ma:contentTypeScope="" ma:versionID="9f106574e2ed2661511151d6e84d4351">
  <xsd:schema xmlns:xsd="http://www.w3.org/2001/XMLSchema" xmlns:xs="http://www.w3.org/2001/XMLSchema" xmlns:p="http://schemas.microsoft.com/office/2006/metadata/properties" xmlns:ns2="d7a05af7-d3ec-4963-864c-209504fa34de" xmlns:ns3="2ed82cd1-6b84-4a0b-9746-0d197a81b83d" targetNamespace="http://schemas.microsoft.com/office/2006/metadata/properties" ma:root="true" ma:fieldsID="e29e0b6384747d97ae1be4e27b2454b2" ns2:_="" ns3:_="">
    <xsd:import namespace="d7a05af7-d3ec-4963-864c-209504fa34de"/>
    <xsd:import namespace="2ed82cd1-6b84-4a0b-9746-0d197a81b83d"/>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KeyPoints" minOccurs="0"/>
                <xsd:element ref="ns2:MediaServiceKeyPoints" minOccurs="0"/>
                <xsd:element ref="ns2:MediaServiceAutoTags" minOccurs="0"/>
                <xsd:element ref="ns2:MediaServiceGenerationTime" minOccurs="0"/>
                <xsd:element ref="ns2:MediaServiceEventHashCode" minOccurs="0"/>
                <xsd:element ref="ns2: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7a05af7-d3ec-4963-864c-209504fa34d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AutoTags" ma:index="14" nillable="true" ma:displayName="Tags" ma:internalName="MediaServiceAutoTags"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ed82cd1-6b84-4a0b-9746-0d197a81b83d"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58F20C2F-001F-4650-A78A-1A78439FA081}"/>
</file>

<file path=customXml/itemProps2.xml><?xml version="1.0" encoding="utf-8"?>
<ds:datastoreItem xmlns:ds="http://schemas.openxmlformats.org/officeDocument/2006/customXml" ds:itemID="{28BB8245-0021-4807-A322-0734089F55E0}"/>
</file>

<file path=customXml/itemProps3.xml><?xml version="1.0" encoding="utf-8"?>
<ds:datastoreItem xmlns:ds="http://schemas.openxmlformats.org/officeDocument/2006/customXml" ds:itemID="{53F7106F-9AB9-4071-9FFF-B6298462E6BB}"/>
</file>

<file path=docProps/app.xml><?xml version="1.0" encoding="utf-8"?>
<Properties xmlns="http://schemas.openxmlformats.org/officeDocument/2006/extended-properties" xmlns:vt="http://schemas.openxmlformats.org/officeDocument/2006/docPropsVTypes">
  <Template>RPM IR PPT Standard - DRAFT - 12.14.18</Template>
  <TotalTime>2392</TotalTime>
  <Words>3624</Words>
  <Application>Microsoft Office PowerPoint</Application>
  <PresentationFormat>On-screen Show (4:3)</PresentationFormat>
  <Paragraphs>344</Paragraphs>
  <Slides>41</Slides>
  <Notes>6</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41</vt:i4>
      </vt:variant>
    </vt:vector>
  </HeadingPairs>
  <TitlesOfParts>
    <vt:vector size="46" baseType="lpstr">
      <vt:lpstr>Arial</vt:lpstr>
      <vt:lpstr>Calibri</vt:lpstr>
      <vt:lpstr>Calibri Light</vt:lpstr>
      <vt:lpstr>Office Theme</vt:lpstr>
      <vt:lpstr>think-cell Slide</vt:lpstr>
      <vt:lpstr> Working Together: Promoting Mutual Respect    </vt:lpstr>
      <vt:lpstr>Presentation Summary </vt:lpstr>
      <vt:lpstr>Introduction</vt:lpstr>
      <vt:lpstr>Recognising Prohibited Behaviour</vt:lpstr>
      <vt:lpstr>Recognising Prohibited Behaviour…</vt:lpstr>
      <vt:lpstr>Recognising Prohibited Behaviour…</vt:lpstr>
      <vt:lpstr>Recognising Prohibited Behaviour… SCENARIO </vt:lpstr>
      <vt:lpstr>Recognising Prohibited Behaviour… ANSWER</vt:lpstr>
      <vt:lpstr>Recognising Prohibited Behaviour… QUESTION</vt:lpstr>
      <vt:lpstr>Recognising Prohibited Behaviour… ANSWER</vt:lpstr>
      <vt:lpstr>Recognising Prohibited Behaviour…</vt:lpstr>
      <vt:lpstr>Responding to Inappropriate Behaviour</vt:lpstr>
      <vt:lpstr>Responding To Inappropriate Behaviour…</vt:lpstr>
      <vt:lpstr>Responding To Inappropriate Behaviour…</vt:lpstr>
      <vt:lpstr>Responding To Inappropriate Behaviour… QUESTION</vt:lpstr>
      <vt:lpstr>Responding To Inappropriate Behaviour… ANSWER</vt:lpstr>
      <vt:lpstr>Creating a Safe Environment</vt:lpstr>
      <vt:lpstr>Creating a Safe Environment…</vt:lpstr>
      <vt:lpstr>Creating a Safe Environment…</vt:lpstr>
      <vt:lpstr>Creating a Safe Environment… QUESTION</vt:lpstr>
      <vt:lpstr>Creating a Safe Environment… ANSWER</vt:lpstr>
      <vt:lpstr>Creating a Safe Environment</vt:lpstr>
      <vt:lpstr>Creating a Safe Environment</vt:lpstr>
      <vt:lpstr>Sexual Harassment</vt:lpstr>
      <vt:lpstr>Sexual Harassment Outside of Work: It’s Still Sexual Harassment </vt:lpstr>
      <vt:lpstr>Sexual Harassment Outside of Work: It’s Still Sexual Harassment</vt:lpstr>
      <vt:lpstr>Sexual Harassment Outside of Work: It’s Still Sexual Harassment</vt:lpstr>
      <vt:lpstr>Sexual Harassment Outside of Work: It’s Still Sexual Harassment</vt:lpstr>
      <vt:lpstr>Sexual Harassment Outside of Work: It’s Still Sexual Harassment</vt:lpstr>
      <vt:lpstr>Sexual Harassment Outside of Work: It’s Still Sexual Harassment - QUESTION</vt:lpstr>
      <vt:lpstr>Sexual Harassment Outside of Work: It’s Still Sexual Harassment - ANSWER</vt:lpstr>
      <vt:lpstr>Presentation Summary and additional scenarios</vt:lpstr>
      <vt:lpstr>Key Points…</vt:lpstr>
      <vt:lpstr>Recognise and Respond…</vt:lpstr>
      <vt:lpstr>Additional Scenarios…Harassment</vt:lpstr>
      <vt:lpstr>Additional Scenarios…Discrimination</vt:lpstr>
      <vt:lpstr>Additional Scenarios…Retaliation </vt:lpstr>
      <vt:lpstr>The RPM Hotline</vt:lpstr>
      <vt:lpstr>The Hotline</vt:lpstr>
      <vt:lpstr>Hotline Instructions</vt:lpstr>
      <vt:lpstr>End of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Lynn DeChant</dc:creator>
  <cp:lastModifiedBy>Cain, Caroline</cp:lastModifiedBy>
  <cp:revision>85</cp:revision>
  <cp:lastPrinted>2018-11-19T21:09:48Z</cp:lastPrinted>
  <dcterms:created xsi:type="dcterms:W3CDTF">2018-12-18T18:53:57Z</dcterms:created>
  <dcterms:modified xsi:type="dcterms:W3CDTF">2020-07-14T16:48:4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590C2D6ED61D4479406C8DA89CF0878</vt:lpwstr>
  </property>
</Properties>
</file>